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69" r:id="rId1"/>
    <p:sldMasterId id="2147485129" r:id="rId2"/>
    <p:sldMasterId id="2147485133" r:id="rId3"/>
  </p:sldMasterIdLst>
  <p:notesMasterIdLst>
    <p:notesMasterId r:id="rId17"/>
  </p:notesMasterIdLst>
  <p:sldIdLst>
    <p:sldId id="748" r:id="rId4"/>
    <p:sldId id="747" r:id="rId5"/>
    <p:sldId id="749" r:id="rId6"/>
    <p:sldId id="750" r:id="rId7"/>
    <p:sldId id="751" r:id="rId8"/>
    <p:sldId id="752" r:id="rId9"/>
    <p:sldId id="753" r:id="rId10"/>
    <p:sldId id="754" r:id="rId11"/>
    <p:sldId id="755" r:id="rId12"/>
    <p:sldId id="742" r:id="rId13"/>
    <p:sldId id="757" r:id="rId14"/>
    <p:sldId id="758" r:id="rId15"/>
    <p:sldId id="759" r:id="rId16"/>
  </p:sldIdLst>
  <p:sldSz cx="12192000" cy="6858000"/>
  <p:notesSz cx="6797675" cy="9926638"/>
  <p:defaultTextStyle>
    <a:defPPr>
      <a:defRPr lang="ko-KR"/>
    </a:defPPr>
    <a:lvl1pPr marL="0" algn="l" defTabSz="908666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4309" algn="l" defTabSz="908666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08666" algn="l" defTabSz="908666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3012" algn="l" defTabSz="908666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17363" algn="l" defTabSz="908666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71688" algn="l" defTabSz="908666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26022" algn="l" defTabSz="908666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80368" algn="l" defTabSz="908666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34719" algn="l" defTabSz="908666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38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하양이/기술전략그룹(무선)/Professional/삼성전자" initials="하" lastIdx="6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C8FCFC"/>
    <a:srgbClr val="505A8E"/>
    <a:srgbClr val="828282"/>
    <a:srgbClr val="FFFF99"/>
    <a:srgbClr val="E5B01B"/>
    <a:srgbClr val="FFFF00"/>
    <a:srgbClr val="008A56"/>
    <a:srgbClr val="969696"/>
    <a:srgbClr val="AAAA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2DE63D5-997A-4646-A377-4702673A728D}" styleName="밝은 스타일 2 - 강조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보통 스타일 1 - 강조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테마 스타일 1 - 강조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B4B98B0-60AC-42C2-AFA5-B58CD77FA1E5}" styleName="밝은 스타일 1 - 강조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밝은 스타일 3 - 강조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밝은 스타일 3 - 강조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74" autoAdjust="0"/>
    <p:restoredTop sz="87294" autoAdjust="0"/>
  </p:normalViewPr>
  <p:slideViewPr>
    <p:cSldViewPr snapToGrid="0">
      <p:cViewPr varScale="1">
        <p:scale>
          <a:sx n="60" d="100"/>
          <a:sy n="60" d="100"/>
        </p:scale>
        <p:origin x="-1380" y="-84"/>
      </p:cViewPr>
      <p:guideLst>
        <p:guide orient="horz" pos="2160"/>
        <p:guide pos="3840"/>
        <p:guide pos="384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90" d="100"/>
          <a:sy n="90" d="100"/>
        </p:scale>
        <p:origin x="3078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3"/>
    </mc:Choice>
    <mc:Fallback>
      <c:style val="23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575971152193677E-2"/>
          <c:y val="0.13345432792085213"/>
          <c:w val="0.93484805769561263"/>
          <c:h val="0.65827560695573761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Scholarship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2</c:v>
                </c:pt>
                <c:pt idx="1">
                  <c:v>13</c:v>
                </c:pt>
                <c:pt idx="2">
                  <c:v>14</c:v>
                </c:pt>
                <c:pt idx="3">
                  <c:v>15</c:v>
                </c:pt>
                <c:pt idx="4">
                  <c:v>16</c:v>
                </c:pt>
                <c:pt idx="5">
                  <c:v>17</c:v>
                </c:pt>
                <c:pt idx="6">
                  <c:v>18</c:v>
                </c:pt>
                <c:pt idx="7">
                  <c:v>19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57</c:v>
                </c:pt>
                <c:pt idx="1">
                  <c:v>58</c:v>
                </c:pt>
                <c:pt idx="2">
                  <c:v>94</c:v>
                </c:pt>
                <c:pt idx="3">
                  <c:v>79</c:v>
                </c:pt>
                <c:pt idx="4">
                  <c:v>70</c:v>
                </c:pt>
                <c:pt idx="5">
                  <c:v>73</c:v>
                </c:pt>
                <c:pt idx="6">
                  <c:v>105</c:v>
                </c:pt>
                <c:pt idx="7">
                  <c:v>1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01F-764B-BB95-A932CD77075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44414464"/>
        <c:axId val="59810176"/>
      </c:barChart>
      <c:catAx>
        <c:axId val="44414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59810176"/>
        <c:crosses val="autoZero"/>
        <c:auto val="1"/>
        <c:lblAlgn val="ctr"/>
        <c:lblOffset val="100"/>
        <c:noMultiLvlLbl val="0"/>
      </c:catAx>
      <c:valAx>
        <c:axId val="598101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44144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605CAE4-924A-400E-BE29-31E5B0EB78FF}" type="doc">
      <dgm:prSet loTypeId="urn:microsoft.com/office/officeart/2005/8/layout/radial4" loCatId="relationship" qsTypeId="urn:microsoft.com/office/officeart/2005/8/quickstyle/3d1" qsCatId="3D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F2252D6F-A237-460B-88E2-B76F3137533B}">
      <dgm:prSet phldrT="[Text]" custT="1"/>
      <dgm:spPr/>
      <dgm:t>
        <a:bodyPr/>
        <a:lstStyle/>
        <a:p>
          <a:endParaRPr lang="en-US" sz="4000" b="1" dirty="0">
            <a:solidFill>
              <a:schemeClr val="tx2">
                <a:lumMod val="50000"/>
              </a:schemeClr>
            </a:solidFill>
            <a:effectLst/>
          </a:endParaRPr>
        </a:p>
      </dgm:t>
    </dgm:pt>
    <dgm:pt modelId="{6E79B0B5-7234-401C-BBE1-9F9A41DA243C}" type="parTrans" cxnId="{52A0277E-9E48-4435-9FE4-C074F6848FD7}">
      <dgm:prSet/>
      <dgm:spPr/>
      <dgm:t>
        <a:bodyPr/>
        <a:lstStyle/>
        <a:p>
          <a:endParaRPr lang="en-US"/>
        </a:p>
      </dgm:t>
    </dgm:pt>
    <dgm:pt modelId="{6F37D4FD-EC6E-4BD5-8A51-D7EEE03DF92F}" type="sibTrans" cxnId="{52A0277E-9E48-4435-9FE4-C074F6848FD7}">
      <dgm:prSet/>
      <dgm:spPr/>
      <dgm:t>
        <a:bodyPr/>
        <a:lstStyle/>
        <a:p>
          <a:endParaRPr lang="en-US"/>
        </a:p>
      </dgm:t>
    </dgm:pt>
    <dgm:pt modelId="{12754401-4A53-410F-960D-565EF182C1D2}">
      <dgm:prSet phldrT="[Text]" phldr="1"/>
      <dgm:spPr/>
      <dgm:t>
        <a:bodyPr/>
        <a:lstStyle/>
        <a:p>
          <a:endParaRPr lang="en-US" dirty="0"/>
        </a:p>
      </dgm:t>
    </dgm:pt>
    <dgm:pt modelId="{A50ECEFB-C99E-4FB4-85A2-F5A23AD7D0A1}" type="parTrans" cxnId="{5E491B32-292B-41F0-95F8-9487E6EFF4F3}">
      <dgm:prSet/>
      <dgm:spPr/>
      <dgm:t>
        <a:bodyPr/>
        <a:lstStyle/>
        <a:p>
          <a:endParaRPr lang="en-US"/>
        </a:p>
      </dgm:t>
    </dgm:pt>
    <dgm:pt modelId="{9127CCD5-BB65-46E7-948E-B8E6AF345FBD}" type="sibTrans" cxnId="{5E491B32-292B-41F0-95F8-9487E6EFF4F3}">
      <dgm:prSet/>
      <dgm:spPr/>
      <dgm:t>
        <a:bodyPr/>
        <a:lstStyle/>
        <a:p>
          <a:endParaRPr lang="en-US"/>
        </a:p>
      </dgm:t>
    </dgm:pt>
    <dgm:pt modelId="{30A68CB3-1454-4A38-B877-9E3EAB0982B8}">
      <dgm:prSet phldrT="[Text]" phldr="1"/>
      <dgm:spPr/>
      <dgm:t>
        <a:bodyPr/>
        <a:lstStyle/>
        <a:p>
          <a:endParaRPr lang="en-US" dirty="0"/>
        </a:p>
      </dgm:t>
    </dgm:pt>
    <dgm:pt modelId="{DFB0600E-B0DA-4421-A3EF-0D89F8546C9E}" type="parTrans" cxnId="{B64D602E-C05F-46B4-A785-333311CE89C1}">
      <dgm:prSet/>
      <dgm:spPr/>
      <dgm:t>
        <a:bodyPr/>
        <a:lstStyle/>
        <a:p>
          <a:endParaRPr lang="en-US"/>
        </a:p>
      </dgm:t>
    </dgm:pt>
    <dgm:pt modelId="{97137A67-BC15-493C-8476-E84D1471DCA3}" type="sibTrans" cxnId="{B64D602E-C05F-46B4-A785-333311CE89C1}">
      <dgm:prSet/>
      <dgm:spPr/>
      <dgm:t>
        <a:bodyPr/>
        <a:lstStyle/>
        <a:p>
          <a:endParaRPr lang="en-US"/>
        </a:p>
      </dgm:t>
    </dgm:pt>
    <dgm:pt modelId="{CB6D4AB5-4A1C-4E46-852A-C90FF5F33351}">
      <dgm:prSet phldrT="[Text]" phldr="1"/>
      <dgm:spPr/>
      <dgm:t>
        <a:bodyPr/>
        <a:lstStyle/>
        <a:p>
          <a:endParaRPr lang="en-US" dirty="0"/>
        </a:p>
      </dgm:t>
    </dgm:pt>
    <dgm:pt modelId="{51D1D032-FFDD-4636-8565-3FF41309C82E}" type="parTrans" cxnId="{CB157A5D-FF47-4E59-8B23-C098FB146218}">
      <dgm:prSet/>
      <dgm:spPr/>
      <dgm:t>
        <a:bodyPr/>
        <a:lstStyle/>
        <a:p>
          <a:endParaRPr lang="en-US"/>
        </a:p>
      </dgm:t>
    </dgm:pt>
    <dgm:pt modelId="{3503C59A-DFCE-4D2D-AF0D-4C173DC12415}" type="sibTrans" cxnId="{CB157A5D-FF47-4E59-8B23-C098FB146218}">
      <dgm:prSet/>
      <dgm:spPr/>
      <dgm:t>
        <a:bodyPr/>
        <a:lstStyle/>
        <a:p>
          <a:endParaRPr lang="en-US"/>
        </a:p>
      </dgm:t>
    </dgm:pt>
    <dgm:pt modelId="{A275DA1A-25B6-4556-BE85-A69B7F1E2193}" type="pres">
      <dgm:prSet presAssocID="{7605CAE4-924A-400E-BE29-31E5B0EB78FF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AF5A35A-E04B-4FD9-A276-3D2EC4DDF28C}" type="pres">
      <dgm:prSet presAssocID="{F2252D6F-A237-460B-88E2-B76F3137533B}" presName="centerShape" presStyleLbl="node0" presStyleIdx="0" presStyleCnt="1" custScaleX="105656" custScaleY="100765"/>
      <dgm:spPr/>
      <dgm:t>
        <a:bodyPr/>
        <a:lstStyle/>
        <a:p>
          <a:endParaRPr lang="en-US"/>
        </a:p>
      </dgm:t>
    </dgm:pt>
    <dgm:pt modelId="{1BB737DA-4055-4E5F-9AD0-C7084D96B1DC}" type="pres">
      <dgm:prSet presAssocID="{A50ECEFB-C99E-4FB4-85A2-F5A23AD7D0A1}" presName="parTrans" presStyleLbl="bgSibTrans2D1" presStyleIdx="0" presStyleCnt="3"/>
      <dgm:spPr/>
      <dgm:t>
        <a:bodyPr/>
        <a:lstStyle/>
        <a:p>
          <a:endParaRPr lang="en-US"/>
        </a:p>
      </dgm:t>
    </dgm:pt>
    <dgm:pt modelId="{C79E67A8-5953-417C-AC63-33976094BE5F}" type="pres">
      <dgm:prSet presAssocID="{12754401-4A53-410F-960D-565EF182C1D2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E93D9C-7289-4868-A3C7-5211349D6106}" type="pres">
      <dgm:prSet presAssocID="{DFB0600E-B0DA-4421-A3EF-0D89F8546C9E}" presName="parTrans" presStyleLbl="bgSibTrans2D1" presStyleIdx="1" presStyleCnt="3"/>
      <dgm:spPr/>
      <dgm:t>
        <a:bodyPr/>
        <a:lstStyle/>
        <a:p>
          <a:endParaRPr lang="en-US"/>
        </a:p>
      </dgm:t>
    </dgm:pt>
    <dgm:pt modelId="{F785CB78-988B-4C29-9645-7FC940F6DAA0}" type="pres">
      <dgm:prSet presAssocID="{30A68CB3-1454-4A38-B877-9E3EAB0982B8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B8596D-5110-4A5A-A2CC-18B2B907C514}" type="pres">
      <dgm:prSet presAssocID="{51D1D032-FFDD-4636-8565-3FF41309C82E}" presName="parTrans" presStyleLbl="bgSibTrans2D1" presStyleIdx="2" presStyleCnt="3"/>
      <dgm:spPr/>
      <dgm:t>
        <a:bodyPr/>
        <a:lstStyle/>
        <a:p>
          <a:endParaRPr lang="en-US"/>
        </a:p>
      </dgm:t>
    </dgm:pt>
    <dgm:pt modelId="{E6ACC0D8-1E66-4F35-B02B-1BD323334156}" type="pres">
      <dgm:prSet presAssocID="{CB6D4AB5-4A1C-4E46-852A-C90FF5F33351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D48FDBB-5322-404B-AEF2-BDB7E89417E1}" type="presOf" srcId="{12754401-4A53-410F-960D-565EF182C1D2}" destId="{C79E67A8-5953-417C-AC63-33976094BE5F}" srcOrd="0" destOrd="0" presId="urn:microsoft.com/office/officeart/2005/8/layout/radial4"/>
    <dgm:cxn modelId="{4E1CBDD2-6765-47DF-B201-DEDAAB167EEC}" type="presOf" srcId="{DFB0600E-B0DA-4421-A3EF-0D89F8546C9E}" destId="{3CE93D9C-7289-4868-A3C7-5211349D6106}" srcOrd="0" destOrd="0" presId="urn:microsoft.com/office/officeart/2005/8/layout/radial4"/>
    <dgm:cxn modelId="{5E491B32-292B-41F0-95F8-9487E6EFF4F3}" srcId="{F2252D6F-A237-460B-88E2-B76F3137533B}" destId="{12754401-4A53-410F-960D-565EF182C1D2}" srcOrd="0" destOrd="0" parTransId="{A50ECEFB-C99E-4FB4-85A2-F5A23AD7D0A1}" sibTransId="{9127CCD5-BB65-46E7-948E-B8E6AF345FBD}"/>
    <dgm:cxn modelId="{C65F6CC4-B56F-4C37-8785-AA1BA3E8FF13}" type="presOf" srcId="{CB6D4AB5-4A1C-4E46-852A-C90FF5F33351}" destId="{E6ACC0D8-1E66-4F35-B02B-1BD323334156}" srcOrd="0" destOrd="0" presId="urn:microsoft.com/office/officeart/2005/8/layout/radial4"/>
    <dgm:cxn modelId="{47232001-371A-455E-AF75-A2D3238070AB}" type="presOf" srcId="{F2252D6F-A237-460B-88E2-B76F3137533B}" destId="{9AF5A35A-E04B-4FD9-A276-3D2EC4DDF28C}" srcOrd="0" destOrd="0" presId="urn:microsoft.com/office/officeart/2005/8/layout/radial4"/>
    <dgm:cxn modelId="{2634A110-6FE8-4626-A26A-F087F81D4B0A}" type="presOf" srcId="{30A68CB3-1454-4A38-B877-9E3EAB0982B8}" destId="{F785CB78-988B-4C29-9645-7FC940F6DAA0}" srcOrd="0" destOrd="0" presId="urn:microsoft.com/office/officeart/2005/8/layout/radial4"/>
    <dgm:cxn modelId="{1038701B-F407-4709-9D4F-452111DCB71F}" type="presOf" srcId="{51D1D032-FFDD-4636-8565-3FF41309C82E}" destId="{4FB8596D-5110-4A5A-A2CC-18B2B907C514}" srcOrd="0" destOrd="0" presId="urn:microsoft.com/office/officeart/2005/8/layout/radial4"/>
    <dgm:cxn modelId="{75DBF513-D432-4BD7-ADDB-9E87DA1D23F8}" type="presOf" srcId="{A50ECEFB-C99E-4FB4-85A2-F5A23AD7D0A1}" destId="{1BB737DA-4055-4E5F-9AD0-C7084D96B1DC}" srcOrd="0" destOrd="0" presId="urn:microsoft.com/office/officeart/2005/8/layout/radial4"/>
    <dgm:cxn modelId="{CB157A5D-FF47-4E59-8B23-C098FB146218}" srcId="{F2252D6F-A237-460B-88E2-B76F3137533B}" destId="{CB6D4AB5-4A1C-4E46-852A-C90FF5F33351}" srcOrd="2" destOrd="0" parTransId="{51D1D032-FFDD-4636-8565-3FF41309C82E}" sibTransId="{3503C59A-DFCE-4D2D-AF0D-4C173DC12415}"/>
    <dgm:cxn modelId="{64686C73-85CF-46C0-A7BE-EDB026564F63}" type="presOf" srcId="{7605CAE4-924A-400E-BE29-31E5B0EB78FF}" destId="{A275DA1A-25B6-4556-BE85-A69B7F1E2193}" srcOrd="0" destOrd="0" presId="urn:microsoft.com/office/officeart/2005/8/layout/radial4"/>
    <dgm:cxn modelId="{52A0277E-9E48-4435-9FE4-C074F6848FD7}" srcId="{7605CAE4-924A-400E-BE29-31E5B0EB78FF}" destId="{F2252D6F-A237-460B-88E2-B76F3137533B}" srcOrd="0" destOrd="0" parTransId="{6E79B0B5-7234-401C-BBE1-9F9A41DA243C}" sibTransId="{6F37D4FD-EC6E-4BD5-8A51-D7EEE03DF92F}"/>
    <dgm:cxn modelId="{B64D602E-C05F-46B4-A785-333311CE89C1}" srcId="{F2252D6F-A237-460B-88E2-B76F3137533B}" destId="{30A68CB3-1454-4A38-B877-9E3EAB0982B8}" srcOrd="1" destOrd="0" parTransId="{DFB0600E-B0DA-4421-A3EF-0D89F8546C9E}" sibTransId="{97137A67-BC15-493C-8476-E84D1471DCA3}"/>
    <dgm:cxn modelId="{25AD8976-4E78-42D6-AD80-D1C405E670C3}" type="presParOf" srcId="{A275DA1A-25B6-4556-BE85-A69B7F1E2193}" destId="{9AF5A35A-E04B-4FD9-A276-3D2EC4DDF28C}" srcOrd="0" destOrd="0" presId="urn:microsoft.com/office/officeart/2005/8/layout/radial4"/>
    <dgm:cxn modelId="{4D315362-02CC-40DE-8A8C-CF961D42C031}" type="presParOf" srcId="{A275DA1A-25B6-4556-BE85-A69B7F1E2193}" destId="{1BB737DA-4055-4E5F-9AD0-C7084D96B1DC}" srcOrd="1" destOrd="0" presId="urn:microsoft.com/office/officeart/2005/8/layout/radial4"/>
    <dgm:cxn modelId="{3751B1B3-A07F-4C67-9B65-D61F94CCD67A}" type="presParOf" srcId="{A275DA1A-25B6-4556-BE85-A69B7F1E2193}" destId="{C79E67A8-5953-417C-AC63-33976094BE5F}" srcOrd="2" destOrd="0" presId="urn:microsoft.com/office/officeart/2005/8/layout/radial4"/>
    <dgm:cxn modelId="{37DDF002-23B1-4EE0-97AA-12B20DF691E7}" type="presParOf" srcId="{A275DA1A-25B6-4556-BE85-A69B7F1E2193}" destId="{3CE93D9C-7289-4868-A3C7-5211349D6106}" srcOrd="3" destOrd="0" presId="urn:microsoft.com/office/officeart/2005/8/layout/radial4"/>
    <dgm:cxn modelId="{89571C69-37C9-4A0E-A253-C88C8F4D7F83}" type="presParOf" srcId="{A275DA1A-25B6-4556-BE85-A69B7F1E2193}" destId="{F785CB78-988B-4C29-9645-7FC940F6DAA0}" srcOrd="4" destOrd="0" presId="urn:microsoft.com/office/officeart/2005/8/layout/radial4"/>
    <dgm:cxn modelId="{D8F162D7-4360-4E71-B77F-F642B6CC5E2C}" type="presParOf" srcId="{A275DA1A-25B6-4556-BE85-A69B7F1E2193}" destId="{4FB8596D-5110-4A5A-A2CC-18B2B907C514}" srcOrd="5" destOrd="0" presId="urn:microsoft.com/office/officeart/2005/8/layout/radial4"/>
    <dgm:cxn modelId="{C3C21E84-5ED1-42AC-8B36-CD4F8DD47F5B}" type="presParOf" srcId="{A275DA1A-25B6-4556-BE85-A69B7F1E2193}" destId="{E6ACC0D8-1E66-4F35-B02B-1BD323334156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9AB1144-6A81-4A06-AC9D-07CBAE05A054}" type="doc">
      <dgm:prSet loTypeId="urn:microsoft.com/office/officeart/2009/3/layout/StepUpProcess" loCatId="process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753183EC-0575-4A9F-BE45-0830A6B85402}">
      <dgm:prSet phldrT="[Text]" custT="1"/>
      <dgm:spPr/>
      <dgm:t>
        <a:bodyPr/>
        <a:lstStyle/>
        <a:p>
          <a:pPr algn="ctr"/>
          <a:r>
            <a:rPr lang="en-US" sz="1800" b="1" dirty="0"/>
            <a:t>HUST</a:t>
          </a:r>
          <a:br>
            <a:rPr lang="en-US" sz="1800" b="1" dirty="0"/>
          </a:br>
          <a:r>
            <a:rPr lang="en-US" sz="1800" b="1" dirty="0"/>
            <a:t>(2012)</a:t>
          </a:r>
        </a:p>
      </dgm:t>
    </dgm:pt>
    <dgm:pt modelId="{F093D22D-2D30-4F72-8A2E-3DC929AFA5A3}" type="parTrans" cxnId="{EBC28503-B599-49A6-BEE2-4E57339E375F}">
      <dgm:prSet/>
      <dgm:spPr/>
      <dgm:t>
        <a:bodyPr/>
        <a:lstStyle/>
        <a:p>
          <a:pPr algn="ctr"/>
          <a:endParaRPr lang="en-US" sz="1400" b="1"/>
        </a:p>
      </dgm:t>
    </dgm:pt>
    <dgm:pt modelId="{A7091C0A-EB47-4400-878E-985C32922941}" type="sibTrans" cxnId="{EBC28503-B599-49A6-BEE2-4E57339E375F}">
      <dgm:prSet/>
      <dgm:spPr/>
      <dgm:t>
        <a:bodyPr/>
        <a:lstStyle/>
        <a:p>
          <a:pPr algn="ctr"/>
          <a:endParaRPr lang="en-US" sz="1400" b="1"/>
        </a:p>
      </dgm:t>
    </dgm:pt>
    <dgm:pt modelId="{3C81008E-EA9A-4B24-B390-42ECFCBB6C52}">
      <dgm:prSet phldrT="[Text]" custT="1"/>
      <dgm:spPr/>
      <dgm:t>
        <a:bodyPr/>
        <a:lstStyle/>
        <a:p>
          <a:pPr algn="ctr"/>
          <a:r>
            <a:rPr lang="en-US" sz="1800" b="1" dirty="0"/>
            <a:t>PTIT</a:t>
          </a:r>
          <a:br>
            <a:rPr lang="en-US" sz="1800" b="1" dirty="0"/>
          </a:br>
          <a:r>
            <a:rPr lang="en-US" sz="1800" b="1" dirty="0"/>
            <a:t>VNU</a:t>
          </a:r>
          <a:br>
            <a:rPr lang="en-US" sz="1800" b="1" dirty="0"/>
          </a:br>
          <a:r>
            <a:rPr lang="en-US" sz="1800" b="1" dirty="0"/>
            <a:t>(2014)</a:t>
          </a:r>
        </a:p>
      </dgm:t>
    </dgm:pt>
    <dgm:pt modelId="{1AF6C24B-577A-442D-AD0E-D7F2962F5975}" type="parTrans" cxnId="{6C40E635-9C9B-48F0-A9EA-137B4D280EDA}">
      <dgm:prSet/>
      <dgm:spPr/>
      <dgm:t>
        <a:bodyPr/>
        <a:lstStyle/>
        <a:p>
          <a:pPr algn="ctr"/>
          <a:endParaRPr lang="en-US" sz="1400" b="1"/>
        </a:p>
      </dgm:t>
    </dgm:pt>
    <dgm:pt modelId="{19D6F317-7377-4DED-9996-83C000B08D58}" type="sibTrans" cxnId="{6C40E635-9C9B-48F0-A9EA-137B4D280EDA}">
      <dgm:prSet/>
      <dgm:spPr/>
      <dgm:t>
        <a:bodyPr/>
        <a:lstStyle/>
        <a:p>
          <a:pPr algn="ctr"/>
          <a:endParaRPr lang="en-US" sz="1400" b="1"/>
        </a:p>
      </dgm:t>
    </dgm:pt>
    <dgm:pt modelId="{427B121B-7071-444A-AAFA-EAB9E94849FB}">
      <dgm:prSet phldrT="[Text]" custT="1"/>
      <dgm:spPr/>
      <dgm:t>
        <a:bodyPr/>
        <a:lstStyle/>
        <a:p>
          <a:pPr algn="ctr"/>
          <a:r>
            <a:rPr lang="en-US" sz="1800" b="1" dirty="0"/>
            <a:t>UTC</a:t>
          </a:r>
          <a:br>
            <a:rPr lang="en-US" sz="1800" b="1" dirty="0"/>
          </a:br>
          <a:r>
            <a:rPr lang="en-US" sz="1800" b="1" dirty="0" err="1"/>
            <a:t>HaUI</a:t>
          </a:r>
          <a:r>
            <a:rPr lang="en-US" sz="1800" b="1" dirty="0"/>
            <a:t/>
          </a:r>
          <a:br>
            <a:rPr lang="en-US" sz="1800" b="1" dirty="0"/>
          </a:br>
          <a:r>
            <a:rPr lang="en-US" sz="1800" b="1" dirty="0"/>
            <a:t>ICTU</a:t>
          </a:r>
          <a:br>
            <a:rPr lang="en-US" sz="1800" b="1" dirty="0"/>
          </a:br>
          <a:r>
            <a:rPr lang="en-US" sz="1800" b="1" dirty="0"/>
            <a:t>(2015)</a:t>
          </a:r>
        </a:p>
      </dgm:t>
    </dgm:pt>
    <dgm:pt modelId="{A5624862-2E34-4682-87B7-03DFE2E9FACD}" type="parTrans" cxnId="{791A686B-57C1-4E12-AF5B-6E18B9EC574A}">
      <dgm:prSet/>
      <dgm:spPr/>
      <dgm:t>
        <a:bodyPr/>
        <a:lstStyle/>
        <a:p>
          <a:pPr algn="ctr"/>
          <a:endParaRPr lang="en-US" sz="1400" b="1"/>
        </a:p>
      </dgm:t>
    </dgm:pt>
    <dgm:pt modelId="{FF291829-2C85-4D61-A241-7E5214E384AB}" type="sibTrans" cxnId="{791A686B-57C1-4E12-AF5B-6E18B9EC574A}">
      <dgm:prSet/>
      <dgm:spPr/>
      <dgm:t>
        <a:bodyPr/>
        <a:lstStyle/>
        <a:p>
          <a:pPr algn="ctr"/>
          <a:endParaRPr lang="en-US" sz="1400" b="1"/>
        </a:p>
      </dgm:t>
    </dgm:pt>
    <dgm:pt modelId="{CED2A725-9964-4E1B-88E5-0E30489113C7}">
      <dgm:prSet phldrT="[Text]" custT="1"/>
      <dgm:spPr/>
      <dgm:t>
        <a:bodyPr/>
        <a:lstStyle/>
        <a:p>
          <a:pPr algn="ctr"/>
          <a:r>
            <a:rPr lang="en-US" sz="1800" b="1" dirty="0"/>
            <a:t>MTA</a:t>
          </a:r>
          <a:br>
            <a:rPr lang="en-US" sz="1800" b="1" dirty="0"/>
          </a:br>
          <a:r>
            <a:rPr lang="en-US" sz="1800" b="1" dirty="0"/>
            <a:t>ACTVN</a:t>
          </a:r>
          <a:br>
            <a:rPr lang="en-US" sz="1800" b="1" dirty="0"/>
          </a:br>
          <a:r>
            <a:rPr lang="en-US" sz="1800" b="1" dirty="0"/>
            <a:t>(2016)</a:t>
          </a:r>
        </a:p>
      </dgm:t>
    </dgm:pt>
    <dgm:pt modelId="{749A8B5A-7384-4F43-B56F-F041734F7367}" type="parTrans" cxnId="{86ADD16A-4968-4075-8992-E8E04129B2EA}">
      <dgm:prSet/>
      <dgm:spPr/>
      <dgm:t>
        <a:bodyPr/>
        <a:lstStyle/>
        <a:p>
          <a:pPr algn="ctr"/>
          <a:endParaRPr lang="en-US" sz="1400" b="1"/>
        </a:p>
      </dgm:t>
    </dgm:pt>
    <dgm:pt modelId="{F5B25CC4-357E-4B69-8C69-E853FF8E25AE}" type="sibTrans" cxnId="{86ADD16A-4968-4075-8992-E8E04129B2EA}">
      <dgm:prSet/>
      <dgm:spPr/>
      <dgm:t>
        <a:bodyPr/>
        <a:lstStyle/>
        <a:p>
          <a:pPr algn="ctr"/>
          <a:endParaRPr lang="en-US" sz="1400" b="1"/>
        </a:p>
      </dgm:t>
    </dgm:pt>
    <dgm:pt modelId="{7C20F7C2-D5F1-445F-BB8B-71138A4CAE19}">
      <dgm:prSet phldrT="[Text]" custT="1"/>
      <dgm:spPr/>
      <dgm:t>
        <a:bodyPr/>
        <a:lstStyle/>
        <a:p>
          <a:pPr algn="ctr"/>
          <a:r>
            <a:rPr lang="en-US" sz="1800" b="1" dirty="0"/>
            <a:t>TLU</a:t>
          </a:r>
          <a:br>
            <a:rPr lang="en-US" sz="1800" b="1" dirty="0"/>
          </a:br>
          <a:r>
            <a:rPr lang="en-US" sz="1800" b="1" dirty="0"/>
            <a:t>(2017)</a:t>
          </a:r>
        </a:p>
      </dgm:t>
    </dgm:pt>
    <dgm:pt modelId="{3037E417-C66A-4E62-95F7-592B643D1EF7}" type="parTrans" cxnId="{5F3D8E7F-4F7F-4AAC-A466-3782F423B97B}">
      <dgm:prSet/>
      <dgm:spPr/>
      <dgm:t>
        <a:bodyPr/>
        <a:lstStyle/>
        <a:p>
          <a:pPr algn="ctr"/>
          <a:endParaRPr lang="en-US" sz="1400" b="1"/>
        </a:p>
      </dgm:t>
    </dgm:pt>
    <dgm:pt modelId="{C756320E-F936-4C79-9823-B1A14A0B2BAE}" type="sibTrans" cxnId="{5F3D8E7F-4F7F-4AAC-A466-3782F423B97B}">
      <dgm:prSet/>
      <dgm:spPr/>
      <dgm:t>
        <a:bodyPr/>
        <a:lstStyle/>
        <a:p>
          <a:pPr algn="ctr"/>
          <a:endParaRPr lang="en-US" sz="1400" b="1"/>
        </a:p>
      </dgm:t>
    </dgm:pt>
    <dgm:pt modelId="{974615E2-0889-4448-B8E7-243953679126}" type="pres">
      <dgm:prSet presAssocID="{B9AB1144-6A81-4A06-AC9D-07CBAE05A054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8317343D-7AB1-45E4-943F-2916C46223C0}" type="pres">
      <dgm:prSet presAssocID="{753183EC-0575-4A9F-BE45-0830A6B85402}" presName="composite" presStyleCnt="0"/>
      <dgm:spPr/>
    </dgm:pt>
    <dgm:pt modelId="{5361CB5A-3C87-424F-95BC-B2649492292A}" type="pres">
      <dgm:prSet presAssocID="{753183EC-0575-4A9F-BE45-0830A6B85402}" presName="LShape" presStyleLbl="alignNode1" presStyleIdx="0" presStyleCnt="9"/>
      <dgm:spPr/>
    </dgm:pt>
    <dgm:pt modelId="{93EB1641-5479-4499-981F-25FD70061C63}" type="pres">
      <dgm:prSet presAssocID="{753183EC-0575-4A9F-BE45-0830A6B85402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F04A44-709A-46C3-A00B-818D3C89D550}" type="pres">
      <dgm:prSet presAssocID="{753183EC-0575-4A9F-BE45-0830A6B85402}" presName="Triangle" presStyleLbl="alignNode1" presStyleIdx="1" presStyleCnt="9"/>
      <dgm:spPr/>
    </dgm:pt>
    <dgm:pt modelId="{04F2E11E-422F-47DE-92C2-B75ABB3A1612}" type="pres">
      <dgm:prSet presAssocID="{A7091C0A-EB47-4400-878E-985C32922941}" presName="sibTrans" presStyleCnt="0"/>
      <dgm:spPr/>
    </dgm:pt>
    <dgm:pt modelId="{3C5B0A8F-1FAA-4339-AD79-0E1F3AE7D488}" type="pres">
      <dgm:prSet presAssocID="{A7091C0A-EB47-4400-878E-985C32922941}" presName="space" presStyleCnt="0"/>
      <dgm:spPr/>
    </dgm:pt>
    <dgm:pt modelId="{C8C8A6DE-EF56-4964-8AC4-CB320008BDC9}" type="pres">
      <dgm:prSet presAssocID="{3C81008E-EA9A-4B24-B390-42ECFCBB6C52}" presName="composite" presStyleCnt="0"/>
      <dgm:spPr/>
    </dgm:pt>
    <dgm:pt modelId="{D0A3EE55-F277-4CA4-B19A-55DA240A6A22}" type="pres">
      <dgm:prSet presAssocID="{3C81008E-EA9A-4B24-B390-42ECFCBB6C52}" presName="LShape" presStyleLbl="alignNode1" presStyleIdx="2" presStyleCnt="9"/>
      <dgm:spPr/>
    </dgm:pt>
    <dgm:pt modelId="{32D510F1-0B8B-4132-9AC6-526806230911}" type="pres">
      <dgm:prSet presAssocID="{3C81008E-EA9A-4B24-B390-42ECFCBB6C52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060B3B8-4466-48D6-8F9C-1F79FE0B98C4}" type="pres">
      <dgm:prSet presAssocID="{3C81008E-EA9A-4B24-B390-42ECFCBB6C52}" presName="Triangle" presStyleLbl="alignNode1" presStyleIdx="3" presStyleCnt="9"/>
      <dgm:spPr/>
    </dgm:pt>
    <dgm:pt modelId="{4F29D357-C81F-4FEC-9D3D-748DCFE69E08}" type="pres">
      <dgm:prSet presAssocID="{19D6F317-7377-4DED-9996-83C000B08D58}" presName="sibTrans" presStyleCnt="0"/>
      <dgm:spPr/>
    </dgm:pt>
    <dgm:pt modelId="{A57BA15D-8E52-448F-8E45-3F65D7E3778C}" type="pres">
      <dgm:prSet presAssocID="{19D6F317-7377-4DED-9996-83C000B08D58}" presName="space" presStyleCnt="0"/>
      <dgm:spPr/>
    </dgm:pt>
    <dgm:pt modelId="{F2B6F3B4-6321-4894-B625-84C68AFD6796}" type="pres">
      <dgm:prSet presAssocID="{427B121B-7071-444A-AAFA-EAB9E94849FB}" presName="composite" presStyleCnt="0"/>
      <dgm:spPr/>
    </dgm:pt>
    <dgm:pt modelId="{2F772CC0-50FD-418F-9424-0713EDBF1B4A}" type="pres">
      <dgm:prSet presAssocID="{427B121B-7071-444A-AAFA-EAB9E94849FB}" presName="LShape" presStyleLbl="alignNode1" presStyleIdx="4" presStyleCnt="9"/>
      <dgm:spPr/>
    </dgm:pt>
    <dgm:pt modelId="{9BD7EE72-2421-476E-A4C4-9F026F6ADFEB}" type="pres">
      <dgm:prSet presAssocID="{427B121B-7071-444A-AAFA-EAB9E94849FB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EA9695-B393-44D1-97C2-546BBDBD6233}" type="pres">
      <dgm:prSet presAssocID="{427B121B-7071-444A-AAFA-EAB9E94849FB}" presName="Triangle" presStyleLbl="alignNode1" presStyleIdx="5" presStyleCnt="9"/>
      <dgm:spPr/>
    </dgm:pt>
    <dgm:pt modelId="{3178908A-FE2E-4F05-98EF-343646BB9D64}" type="pres">
      <dgm:prSet presAssocID="{FF291829-2C85-4D61-A241-7E5214E384AB}" presName="sibTrans" presStyleCnt="0"/>
      <dgm:spPr/>
    </dgm:pt>
    <dgm:pt modelId="{9694817C-EDD5-408C-B684-3E4200B0E149}" type="pres">
      <dgm:prSet presAssocID="{FF291829-2C85-4D61-A241-7E5214E384AB}" presName="space" presStyleCnt="0"/>
      <dgm:spPr/>
    </dgm:pt>
    <dgm:pt modelId="{FCFB7F59-3630-4159-85E8-3F66F039F844}" type="pres">
      <dgm:prSet presAssocID="{CED2A725-9964-4E1B-88E5-0E30489113C7}" presName="composite" presStyleCnt="0"/>
      <dgm:spPr/>
    </dgm:pt>
    <dgm:pt modelId="{A4C8FC46-30AB-4AD8-BB84-AC88FE492B3B}" type="pres">
      <dgm:prSet presAssocID="{CED2A725-9964-4E1B-88E5-0E30489113C7}" presName="LShape" presStyleLbl="alignNode1" presStyleIdx="6" presStyleCnt="9"/>
      <dgm:spPr/>
    </dgm:pt>
    <dgm:pt modelId="{B9C2053D-99E0-4F71-B263-C2BEDEFD3BAC}" type="pres">
      <dgm:prSet presAssocID="{CED2A725-9964-4E1B-88E5-0E30489113C7}" presName="ParentText" presStyleLbl="revTx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53CEC6-8E8F-4CE4-8370-152B5D79958A}" type="pres">
      <dgm:prSet presAssocID="{CED2A725-9964-4E1B-88E5-0E30489113C7}" presName="Triangle" presStyleLbl="alignNode1" presStyleIdx="7" presStyleCnt="9"/>
      <dgm:spPr/>
    </dgm:pt>
    <dgm:pt modelId="{6DAA4EF5-5A22-4349-88DA-A554C7AED629}" type="pres">
      <dgm:prSet presAssocID="{F5B25CC4-357E-4B69-8C69-E853FF8E25AE}" presName="sibTrans" presStyleCnt="0"/>
      <dgm:spPr/>
    </dgm:pt>
    <dgm:pt modelId="{64DB9DBB-1535-4E45-AE86-AA6E3D9F9D94}" type="pres">
      <dgm:prSet presAssocID="{F5B25CC4-357E-4B69-8C69-E853FF8E25AE}" presName="space" presStyleCnt="0"/>
      <dgm:spPr/>
    </dgm:pt>
    <dgm:pt modelId="{7429B9C5-C173-4861-A1DF-8D41F1253A87}" type="pres">
      <dgm:prSet presAssocID="{7C20F7C2-D5F1-445F-BB8B-71138A4CAE19}" presName="composite" presStyleCnt="0"/>
      <dgm:spPr/>
    </dgm:pt>
    <dgm:pt modelId="{001070AD-D680-4BFF-B815-8FECB70427B0}" type="pres">
      <dgm:prSet presAssocID="{7C20F7C2-D5F1-445F-BB8B-71138A4CAE19}" presName="LShape" presStyleLbl="alignNode1" presStyleIdx="8" presStyleCnt="9"/>
      <dgm:spPr/>
    </dgm:pt>
    <dgm:pt modelId="{4BEC8F91-8405-4701-8A01-6DF438619E23}" type="pres">
      <dgm:prSet presAssocID="{7C20F7C2-D5F1-445F-BB8B-71138A4CAE19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C40E635-9C9B-48F0-A9EA-137B4D280EDA}" srcId="{B9AB1144-6A81-4A06-AC9D-07CBAE05A054}" destId="{3C81008E-EA9A-4B24-B390-42ECFCBB6C52}" srcOrd="1" destOrd="0" parTransId="{1AF6C24B-577A-442D-AD0E-D7F2962F5975}" sibTransId="{19D6F317-7377-4DED-9996-83C000B08D58}"/>
    <dgm:cxn modelId="{220C48D2-F30C-45DB-9818-F974ABC0BB3F}" type="presOf" srcId="{3C81008E-EA9A-4B24-B390-42ECFCBB6C52}" destId="{32D510F1-0B8B-4132-9AC6-526806230911}" srcOrd="0" destOrd="0" presId="urn:microsoft.com/office/officeart/2009/3/layout/StepUpProcess"/>
    <dgm:cxn modelId="{6166217F-4CB3-4A54-AB3F-AA6A8854410D}" type="presOf" srcId="{753183EC-0575-4A9F-BE45-0830A6B85402}" destId="{93EB1641-5479-4499-981F-25FD70061C63}" srcOrd="0" destOrd="0" presId="urn:microsoft.com/office/officeart/2009/3/layout/StepUpProcess"/>
    <dgm:cxn modelId="{0E792906-9C43-45ED-87D0-3F3C4C339B03}" type="presOf" srcId="{B9AB1144-6A81-4A06-AC9D-07CBAE05A054}" destId="{974615E2-0889-4448-B8E7-243953679126}" srcOrd="0" destOrd="0" presId="urn:microsoft.com/office/officeart/2009/3/layout/StepUpProcess"/>
    <dgm:cxn modelId="{EBC28503-B599-49A6-BEE2-4E57339E375F}" srcId="{B9AB1144-6A81-4A06-AC9D-07CBAE05A054}" destId="{753183EC-0575-4A9F-BE45-0830A6B85402}" srcOrd="0" destOrd="0" parTransId="{F093D22D-2D30-4F72-8A2E-3DC929AFA5A3}" sibTransId="{A7091C0A-EB47-4400-878E-985C32922941}"/>
    <dgm:cxn modelId="{D8FF27BB-D1EA-4C0E-959D-9BA10A462ABA}" type="presOf" srcId="{7C20F7C2-D5F1-445F-BB8B-71138A4CAE19}" destId="{4BEC8F91-8405-4701-8A01-6DF438619E23}" srcOrd="0" destOrd="0" presId="urn:microsoft.com/office/officeart/2009/3/layout/StepUpProcess"/>
    <dgm:cxn modelId="{86ADD16A-4968-4075-8992-E8E04129B2EA}" srcId="{B9AB1144-6A81-4A06-AC9D-07CBAE05A054}" destId="{CED2A725-9964-4E1B-88E5-0E30489113C7}" srcOrd="3" destOrd="0" parTransId="{749A8B5A-7384-4F43-B56F-F041734F7367}" sibTransId="{F5B25CC4-357E-4B69-8C69-E853FF8E25AE}"/>
    <dgm:cxn modelId="{82CC1B5A-12B7-40A5-8153-A6FCC61778FA}" type="presOf" srcId="{427B121B-7071-444A-AAFA-EAB9E94849FB}" destId="{9BD7EE72-2421-476E-A4C4-9F026F6ADFEB}" srcOrd="0" destOrd="0" presId="urn:microsoft.com/office/officeart/2009/3/layout/StepUpProcess"/>
    <dgm:cxn modelId="{791A686B-57C1-4E12-AF5B-6E18B9EC574A}" srcId="{B9AB1144-6A81-4A06-AC9D-07CBAE05A054}" destId="{427B121B-7071-444A-AAFA-EAB9E94849FB}" srcOrd="2" destOrd="0" parTransId="{A5624862-2E34-4682-87B7-03DFE2E9FACD}" sibTransId="{FF291829-2C85-4D61-A241-7E5214E384AB}"/>
    <dgm:cxn modelId="{5F3D8E7F-4F7F-4AAC-A466-3782F423B97B}" srcId="{B9AB1144-6A81-4A06-AC9D-07CBAE05A054}" destId="{7C20F7C2-D5F1-445F-BB8B-71138A4CAE19}" srcOrd="4" destOrd="0" parTransId="{3037E417-C66A-4E62-95F7-592B643D1EF7}" sibTransId="{C756320E-F936-4C79-9823-B1A14A0B2BAE}"/>
    <dgm:cxn modelId="{081C7DAE-4A9D-4A9B-8765-7D80B6E1CE8A}" type="presOf" srcId="{CED2A725-9964-4E1B-88E5-0E30489113C7}" destId="{B9C2053D-99E0-4F71-B263-C2BEDEFD3BAC}" srcOrd="0" destOrd="0" presId="urn:microsoft.com/office/officeart/2009/3/layout/StepUpProcess"/>
    <dgm:cxn modelId="{2BF6CF66-9A0C-41AC-A1A7-BC0F2FB2C9DE}" type="presParOf" srcId="{974615E2-0889-4448-B8E7-243953679126}" destId="{8317343D-7AB1-45E4-943F-2916C46223C0}" srcOrd="0" destOrd="0" presId="urn:microsoft.com/office/officeart/2009/3/layout/StepUpProcess"/>
    <dgm:cxn modelId="{9616F64A-B575-4DEA-8CFA-0A3C2F30D7B4}" type="presParOf" srcId="{8317343D-7AB1-45E4-943F-2916C46223C0}" destId="{5361CB5A-3C87-424F-95BC-B2649492292A}" srcOrd="0" destOrd="0" presId="urn:microsoft.com/office/officeart/2009/3/layout/StepUpProcess"/>
    <dgm:cxn modelId="{B1CB6472-8EBF-46B3-A182-8444700E3625}" type="presParOf" srcId="{8317343D-7AB1-45E4-943F-2916C46223C0}" destId="{93EB1641-5479-4499-981F-25FD70061C63}" srcOrd="1" destOrd="0" presId="urn:microsoft.com/office/officeart/2009/3/layout/StepUpProcess"/>
    <dgm:cxn modelId="{D9B71C25-439C-4851-99A0-FB635ABA7000}" type="presParOf" srcId="{8317343D-7AB1-45E4-943F-2916C46223C0}" destId="{A4F04A44-709A-46C3-A00B-818D3C89D550}" srcOrd="2" destOrd="0" presId="urn:microsoft.com/office/officeart/2009/3/layout/StepUpProcess"/>
    <dgm:cxn modelId="{E44784DD-0697-437D-855F-5B40F940BC72}" type="presParOf" srcId="{974615E2-0889-4448-B8E7-243953679126}" destId="{04F2E11E-422F-47DE-92C2-B75ABB3A1612}" srcOrd="1" destOrd="0" presId="urn:microsoft.com/office/officeart/2009/3/layout/StepUpProcess"/>
    <dgm:cxn modelId="{1E9E5699-0E35-4A23-8A94-27E0764CBC02}" type="presParOf" srcId="{04F2E11E-422F-47DE-92C2-B75ABB3A1612}" destId="{3C5B0A8F-1FAA-4339-AD79-0E1F3AE7D488}" srcOrd="0" destOrd="0" presId="urn:microsoft.com/office/officeart/2009/3/layout/StepUpProcess"/>
    <dgm:cxn modelId="{30301A65-3E9D-4005-A140-C3484EFE2F06}" type="presParOf" srcId="{974615E2-0889-4448-B8E7-243953679126}" destId="{C8C8A6DE-EF56-4964-8AC4-CB320008BDC9}" srcOrd="2" destOrd="0" presId="urn:microsoft.com/office/officeart/2009/3/layout/StepUpProcess"/>
    <dgm:cxn modelId="{7595BBD7-3DA5-453A-9E1D-DB483406769C}" type="presParOf" srcId="{C8C8A6DE-EF56-4964-8AC4-CB320008BDC9}" destId="{D0A3EE55-F277-4CA4-B19A-55DA240A6A22}" srcOrd="0" destOrd="0" presId="urn:microsoft.com/office/officeart/2009/3/layout/StepUpProcess"/>
    <dgm:cxn modelId="{E0DE8CAF-F0B5-4A45-89D5-930E1C90CC31}" type="presParOf" srcId="{C8C8A6DE-EF56-4964-8AC4-CB320008BDC9}" destId="{32D510F1-0B8B-4132-9AC6-526806230911}" srcOrd="1" destOrd="0" presId="urn:microsoft.com/office/officeart/2009/3/layout/StepUpProcess"/>
    <dgm:cxn modelId="{53840E1B-3A98-45DB-9FFF-9CA04F3555EE}" type="presParOf" srcId="{C8C8A6DE-EF56-4964-8AC4-CB320008BDC9}" destId="{0060B3B8-4466-48D6-8F9C-1F79FE0B98C4}" srcOrd="2" destOrd="0" presId="urn:microsoft.com/office/officeart/2009/3/layout/StepUpProcess"/>
    <dgm:cxn modelId="{893BD859-8C12-45EF-BE78-E63BD3FAA8A2}" type="presParOf" srcId="{974615E2-0889-4448-B8E7-243953679126}" destId="{4F29D357-C81F-4FEC-9D3D-748DCFE69E08}" srcOrd="3" destOrd="0" presId="urn:microsoft.com/office/officeart/2009/3/layout/StepUpProcess"/>
    <dgm:cxn modelId="{A4A4B76F-235E-4297-B3CA-24826A26A8C7}" type="presParOf" srcId="{4F29D357-C81F-4FEC-9D3D-748DCFE69E08}" destId="{A57BA15D-8E52-448F-8E45-3F65D7E3778C}" srcOrd="0" destOrd="0" presId="urn:microsoft.com/office/officeart/2009/3/layout/StepUpProcess"/>
    <dgm:cxn modelId="{4C85552C-1CF0-40DF-9D34-D15DA30128A5}" type="presParOf" srcId="{974615E2-0889-4448-B8E7-243953679126}" destId="{F2B6F3B4-6321-4894-B625-84C68AFD6796}" srcOrd="4" destOrd="0" presId="urn:microsoft.com/office/officeart/2009/3/layout/StepUpProcess"/>
    <dgm:cxn modelId="{001F95CB-03A7-446B-960E-2346C9B18322}" type="presParOf" srcId="{F2B6F3B4-6321-4894-B625-84C68AFD6796}" destId="{2F772CC0-50FD-418F-9424-0713EDBF1B4A}" srcOrd="0" destOrd="0" presId="urn:microsoft.com/office/officeart/2009/3/layout/StepUpProcess"/>
    <dgm:cxn modelId="{E06ED6E5-B68E-47A7-8D8B-D545192D4990}" type="presParOf" srcId="{F2B6F3B4-6321-4894-B625-84C68AFD6796}" destId="{9BD7EE72-2421-476E-A4C4-9F026F6ADFEB}" srcOrd="1" destOrd="0" presId="urn:microsoft.com/office/officeart/2009/3/layout/StepUpProcess"/>
    <dgm:cxn modelId="{27735AAF-0ED8-45E5-8747-ED36E0C22300}" type="presParOf" srcId="{F2B6F3B4-6321-4894-B625-84C68AFD6796}" destId="{31EA9695-B393-44D1-97C2-546BBDBD6233}" srcOrd="2" destOrd="0" presId="urn:microsoft.com/office/officeart/2009/3/layout/StepUpProcess"/>
    <dgm:cxn modelId="{AAA17C96-5601-484F-A7FB-34CCAE83963B}" type="presParOf" srcId="{974615E2-0889-4448-B8E7-243953679126}" destId="{3178908A-FE2E-4F05-98EF-343646BB9D64}" srcOrd="5" destOrd="0" presId="urn:microsoft.com/office/officeart/2009/3/layout/StepUpProcess"/>
    <dgm:cxn modelId="{ABF8D864-22A3-450E-A218-D92C2918BF9E}" type="presParOf" srcId="{3178908A-FE2E-4F05-98EF-343646BB9D64}" destId="{9694817C-EDD5-408C-B684-3E4200B0E149}" srcOrd="0" destOrd="0" presId="urn:microsoft.com/office/officeart/2009/3/layout/StepUpProcess"/>
    <dgm:cxn modelId="{096F3D42-0D30-4718-B3B8-85E97B2D81E8}" type="presParOf" srcId="{974615E2-0889-4448-B8E7-243953679126}" destId="{FCFB7F59-3630-4159-85E8-3F66F039F844}" srcOrd="6" destOrd="0" presId="urn:microsoft.com/office/officeart/2009/3/layout/StepUpProcess"/>
    <dgm:cxn modelId="{B840200D-FB18-49AD-A179-4BAF778E8B1A}" type="presParOf" srcId="{FCFB7F59-3630-4159-85E8-3F66F039F844}" destId="{A4C8FC46-30AB-4AD8-BB84-AC88FE492B3B}" srcOrd="0" destOrd="0" presId="urn:microsoft.com/office/officeart/2009/3/layout/StepUpProcess"/>
    <dgm:cxn modelId="{CBBF2AA5-C1B7-4426-A5C9-7F7302F598EC}" type="presParOf" srcId="{FCFB7F59-3630-4159-85E8-3F66F039F844}" destId="{B9C2053D-99E0-4F71-B263-C2BEDEFD3BAC}" srcOrd="1" destOrd="0" presId="urn:microsoft.com/office/officeart/2009/3/layout/StepUpProcess"/>
    <dgm:cxn modelId="{EDE75DE1-4639-466D-B444-8897DD4E8425}" type="presParOf" srcId="{FCFB7F59-3630-4159-85E8-3F66F039F844}" destId="{A053CEC6-8E8F-4CE4-8370-152B5D79958A}" srcOrd="2" destOrd="0" presId="urn:microsoft.com/office/officeart/2009/3/layout/StepUpProcess"/>
    <dgm:cxn modelId="{6A0E6437-8FB2-402E-830E-B2C3009DC6A4}" type="presParOf" srcId="{974615E2-0889-4448-B8E7-243953679126}" destId="{6DAA4EF5-5A22-4349-88DA-A554C7AED629}" srcOrd="7" destOrd="0" presId="urn:microsoft.com/office/officeart/2009/3/layout/StepUpProcess"/>
    <dgm:cxn modelId="{3B5C271D-FCFC-4820-871A-95D99963E25E}" type="presParOf" srcId="{6DAA4EF5-5A22-4349-88DA-A554C7AED629}" destId="{64DB9DBB-1535-4E45-AE86-AA6E3D9F9D94}" srcOrd="0" destOrd="0" presId="urn:microsoft.com/office/officeart/2009/3/layout/StepUpProcess"/>
    <dgm:cxn modelId="{FD15A265-E8AC-4E4A-9922-6A01E9F7978C}" type="presParOf" srcId="{974615E2-0889-4448-B8E7-243953679126}" destId="{7429B9C5-C173-4861-A1DF-8D41F1253A87}" srcOrd="8" destOrd="0" presId="urn:microsoft.com/office/officeart/2009/3/layout/StepUpProcess"/>
    <dgm:cxn modelId="{6AF5B5C9-EB67-4B60-AA1A-46464BB4CE53}" type="presParOf" srcId="{7429B9C5-C173-4861-A1DF-8D41F1253A87}" destId="{001070AD-D680-4BFF-B815-8FECB70427B0}" srcOrd="0" destOrd="0" presId="urn:microsoft.com/office/officeart/2009/3/layout/StepUpProcess"/>
    <dgm:cxn modelId="{6F85C341-71B2-464F-844E-534B3DC6C445}" type="presParOf" srcId="{7429B9C5-C173-4861-A1DF-8D41F1253A87}" destId="{4BEC8F91-8405-4701-8A01-6DF438619E23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1D06A2A-FAA0-8A40-8BDF-9C0728A1142E}" type="doc">
      <dgm:prSet loTypeId="urn:microsoft.com/office/officeart/2005/8/layout/hProcess6" loCatId="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2B5A1D77-EE35-C844-8707-5C2FFFE72278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400" b="1" dirty="0"/>
            <a:t>6 </a:t>
          </a:r>
          <a:endParaRPr lang="en-US" sz="1400" b="1" dirty="0" smtClean="0"/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400" b="1" dirty="0" err="1" smtClean="0"/>
            <a:t>dự</a:t>
          </a:r>
          <a:r>
            <a:rPr lang="en-US" sz="1400" b="1" dirty="0" smtClean="0"/>
            <a:t> </a:t>
          </a:r>
          <a:r>
            <a:rPr lang="en-US" sz="1400" b="1" dirty="0" err="1" smtClean="0"/>
            <a:t>án</a:t>
          </a:r>
          <a:endParaRPr lang="en-US" sz="1400" b="1" dirty="0"/>
        </a:p>
      </dgm:t>
    </dgm:pt>
    <dgm:pt modelId="{C0F7F5AC-FFC0-A44F-B91C-022763719951}" type="parTrans" cxnId="{46204274-A509-E54B-B9BA-9CB0671A26C5}">
      <dgm:prSet/>
      <dgm:spPr/>
      <dgm:t>
        <a:bodyPr/>
        <a:lstStyle/>
        <a:p>
          <a:endParaRPr lang="en-US"/>
        </a:p>
      </dgm:t>
    </dgm:pt>
    <dgm:pt modelId="{8CAABB8B-ECA4-7048-ACD0-BC1BBC11398A}" type="sibTrans" cxnId="{46204274-A509-E54B-B9BA-9CB0671A26C5}">
      <dgm:prSet/>
      <dgm:spPr/>
      <dgm:t>
        <a:bodyPr/>
        <a:lstStyle/>
        <a:p>
          <a:endParaRPr lang="en-US"/>
        </a:p>
      </dgm:t>
    </dgm:pt>
    <dgm:pt modelId="{E8351ECC-171F-8B4C-8FEE-B100BDD821F3}">
      <dgm:prSet phldrT="[Text]" custT="1"/>
      <dgm:spPr/>
      <dgm:t>
        <a:bodyPr/>
        <a:lstStyle/>
        <a:p>
          <a:r>
            <a:rPr lang="en-US" sz="1400" b="1" dirty="0"/>
            <a:t>3 </a:t>
          </a:r>
          <a:br>
            <a:rPr lang="en-US" sz="1400" b="1" dirty="0"/>
          </a:br>
          <a:r>
            <a:rPr lang="en-US" sz="1400" b="1" dirty="0" err="1" smtClean="0"/>
            <a:t>dự</a:t>
          </a:r>
          <a:r>
            <a:rPr lang="en-US" sz="1400" b="1" dirty="0" smtClean="0"/>
            <a:t> </a:t>
          </a:r>
          <a:r>
            <a:rPr lang="en-US" sz="1400" b="1" dirty="0" err="1" smtClean="0"/>
            <a:t>án</a:t>
          </a:r>
          <a:endParaRPr lang="en-US" sz="1400" b="1" dirty="0"/>
        </a:p>
      </dgm:t>
    </dgm:pt>
    <dgm:pt modelId="{A492488B-A6A5-BA41-88E4-5C266464E0DE}" type="parTrans" cxnId="{257436ED-C976-7641-BC92-548F0DCE485D}">
      <dgm:prSet/>
      <dgm:spPr/>
      <dgm:t>
        <a:bodyPr/>
        <a:lstStyle/>
        <a:p>
          <a:endParaRPr lang="en-US"/>
        </a:p>
      </dgm:t>
    </dgm:pt>
    <dgm:pt modelId="{BEE175CD-3C6E-924D-B6CD-3844DB637564}" type="sibTrans" cxnId="{257436ED-C976-7641-BC92-548F0DCE485D}">
      <dgm:prSet/>
      <dgm:spPr/>
      <dgm:t>
        <a:bodyPr/>
        <a:lstStyle/>
        <a:p>
          <a:endParaRPr lang="en-US"/>
        </a:p>
      </dgm:t>
    </dgm:pt>
    <dgm:pt modelId="{9C4A24E8-FEF2-7742-B9A7-ECD0EB4AC5CA}">
      <dgm:prSet phldrT="[Text]" custT="1"/>
      <dgm:spPr/>
      <dgm:t>
        <a:bodyPr/>
        <a:lstStyle/>
        <a:p>
          <a:r>
            <a:rPr lang="en-US" sz="1400" b="1" dirty="0"/>
            <a:t>2 </a:t>
          </a:r>
          <a:r>
            <a:rPr lang="en-US" sz="1400" b="1" dirty="0" smtClean="0"/>
            <a:t/>
          </a:r>
          <a:br>
            <a:rPr lang="en-US" sz="1400" b="1" dirty="0" smtClean="0"/>
          </a:br>
          <a:r>
            <a:rPr lang="en-US" sz="1400" b="1" dirty="0" err="1" smtClean="0"/>
            <a:t>dự</a:t>
          </a:r>
          <a:r>
            <a:rPr lang="en-US" sz="1400" b="1" dirty="0" smtClean="0"/>
            <a:t> </a:t>
          </a:r>
          <a:r>
            <a:rPr lang="en-US" sz="1400" b="1" dirty="0" err="1" smtClean="0"/>
            <a:t>án</a:t>
          </a:r>
          <a:endParaRPr lang="en-US" sz="1400" b="1" dirty="0"/>
        </a:p>
      </dgm:t>
    </dgm:pt>
    <dgm:pt modelId="{2E803EFE-720A-7643-88B5-B7C51F99B9F6}" type="parTrans" cxnId="{0FCDE7E4-29C9-B041-979B-3C846DD2DA02}">
      <dgm:prSet/>
      <dgm:spPr/>
      <dgm:t>
        <a:bodyPr/>
        <a:lstStyle/>
        <a:p>
          <a:endParaRPr lang="en-US"/>
        </a:p>
      </dgm:t>
    </dgm:pt>
    <dgm:pt modelId="{72BB586B-4A05-9043-878A-BCF3F359C311}" type="sibTrans" cxnId="{0FCDE7E4-29C9-B041-979B-3C846DD2DA02}">
      <dgm:prSet/>
      <dgm:spPr/>
      <dgm:t>
        <a:bodyPr/>
        <a:lstStyle/>
        <a:p>
          <a:endParaRPr lang="en-US"/>
        </a:p>
      </dgm:t>
    </dgm:pt>
    <dgm:pt modelId="{3225F5BD-E0E9-1A47-9BBA-4CE0EAA9B94A}">
      <dgm:prSet phldrT="[Text]" custT="1"/>
      <dgm:spPr/>
      <dgm:t>
        <a:bodyPr/>
        <a:lstStyle/>
        <a:p>
          <a:pPr marL="11113" indent="0">
            <a:tabLst/>
          </a:pPr>
          <a:r>
            <a:rPr lang="en-US" sz="1600" b="1" dirty="0"/>
            <a:t>2012 ~ 2015</a:t>
          </a:r>
        </a:p>
      </dgm:t>
    </dgm:pt>
    <dgm:pt modelId="{075B5AEE-432F-8F40-A998-9C2438458C3A}" type="parTrans" cxnId="{7A3DB651-74D9-7843-9C82-14DAC916EF9C}">
      <dgm:prSet/>
      <dgm:spPr/>
      <dgm:t>
        <a:bodyPr/>
        <a:lstStyle/>
        <a:p>
          <a:endParaRPr lang="en-US"/>
        </a:p>
      </dgm:t>
    </dgm:pt>
    <dgm:pt modelId="{C63D5F57-9C15-CA4C-BE6F-5F29C2161E7E}" type="sibTrans" cxnId="{7A3DB651-74D9-7843-9C82-14DAC916EF9C}">
      <dgm:prSet/>
      <dgm:spPr/>
      <dgm:t>
        <a:bodyPr/>
        <a:lstStyle/>
        <a:p>
          <a:endParaRPr lang="en-US"/>
        </a:p>
      </dgm:t>
    </dgm:pt>
    <dgm:pt modelId="{DE38C53F-06EF-ED4D-98F8-53F95D630B72}">
      <dgm:prSet phldrT="[Text]" custT="1"/>
      <dgm:spPr/>
      <dgm:t>
        <a:bodyPr/>
        <a:lstStyle/>
        <a:p>
          <a:r>
            <a:rPr lang="en-US" sz="1600" b="1" dirty="0"/>
            <a:t>2014 ~ 2017</a:t>
          </a:r>
        </a:p>
      </dgm:t>
    </dgm:pt>
    <dgm:pt modelId="{7AB2048D-BCC6-6E4D-873C-A1CCD801BA90}" type="parTrans" cxnId="{4952B1D4-D825-4044-8EC1-86E0B2710CAF}">
      <dgm:prSet/>
      <dgm:spPr/>
      <dgm:t>
        <a:bodyPr/>
        <a:lstStyle/>
        <a:p>
          <a:endParaRPr lang="en-US"/>
        </a:p>
      </dgm:t>
    </dgm:pt>
    <dgm:pt modelId="{424C7815-3581-0840-AD26-CF1AE6656E24}" type="sibTrans" cxnId="{4952B1D4-D825-4044-8EC1-86E0B2710CAF}">
      <dgm:prSet/>
      <dgm:spPr/>
      <dgm:t>
        <a:bodyPr/>
        <a:lstStyle/>
        <a:p>
          <a:endParaRPr lang="en-US"/>
        </a:p>
      </dgm:t>
    </dgm:pt>
    <dgm:pt modelId="{DDA4B5C3-495B-264E-BDE6-944DD4E6D371}">
      <dgm:prSet phldrT="[Text]" custT="1"/>
      <dgm:spPr/>
      <dgm:t>
        <a:bodyPr/>
        <a:lstStyle/>
        <a:p>
          <a:r>
            <a:rPr lang="en-US" sz="1600" b="1" dirty="0"/>
            <a:t>2016 ~ nay</a:t>
          </a:r>
        </a:p>
      </dgm:t>
    </dgm:pt>
    <dgm:pt modelId="{9C35D7EE-601C-E04E-8FE7-974247AA92BB}" type="parTrans" cxnId="{470FBCE3-1D59-294D-BC27-961162D0E2B6}">
      <dgm:prSet/>
      <dgm:spPr/>
      <dgm:t>
        <a:bodyPr/>
        <a:lstStyle/>
        <a:p>
          <a:endParaRPr lang="en-US"/>
        </a:p>
      </dgm:t>
    </dgm:pt>
    <dgm:pt modelId="{94F8DDC6-9483-9743-A24E-BAA8B0F7F904}" type="sibTrans" cxnId="{470FBCE3-1D59-294D-BC27-961162D0E2B6}">
      <dgm:prSet/>
      <dgm:spPr/>
      <dgm:t>
        <a:bodyPr/>
        <a:lstStyle/>
        <a:p>
          <a:endParaRPr lang="en-US"/>
        </a:p>
      </dgm:t>
    </dgm:pt>
    <dgm:pt modelId="{CD5F2FF5-A951-694E-AC68-943E4250C764}" type="pres">
      <dgm:prSet presAssocID="{31D06A2A-FAA0-8A40-8BDF-9C0728A1142E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2F76671-BDCF-2841-AC2B-C1BF49B444D2}" type="pres">
      <dgm:prSet presAssocID="{2B5A1D77-EE35-C844-8707-5C2FFFE72278}" presName="compNode" presStyleCnt="0"/>
      <dgm:spPr/>
    </dgm:pt>
    <dgm:pt modelId="{6FDFE4A5-4159-8240-A04A-ED528EAD70F1}" type="pres">
      <dgm:prSet presAssocID="{2B5A1D77-EE35-C844-8707-5C2FFFE72278}" presName="noGeometry" presStyleCnt="0"/>
      <dgm:spPr/>
    </dgm:pt>
    <dgm:pt modelId="{E00F160F-B0E2-CE4D-8EEF-7F361C516B52}" type="pres">
      <dgm:prSet presAssocID="{2B5A1D77-EE35-C844-8707-5C2FFFE72278}" presName="childTextVisible" presStyleLbl="bgAccFollowNode1" presStyleIdx="0" presStyleCnt="3" custScaleX="1593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0DD6B6-DBB2-6848-AA81-8379CD2B549D}" type="pres">
      <dgm:prSet presAssocID="{2B5A1D77-EE35-C844-8707-5C2FFFE72278}" presName="childTextHidden" presStyleLbl="bgAccFollowNode1" presStyleIdx="0" presStyleCnt="3"/>
      <dgm:spPr/>
      <dgm:t>
        <a:bodyPr/>
        <a:lstStyle/>
        <a:p>
          <a:endParaRPr lang="en-US"/>
        </a:p>
      </dgm:t>
    </dgm:pt>
    <dgm:pt modelId="{574AE063-6E5E-174F-A03F-54AAA41CF164}" type="pres">
      <dgm:prSet presAssocID="{2B5A1D77-EE35-C844-8707-5C2FFFE72278}" presName="parentText" presStyleLbl="node1" presStyleIdx="0" presStyleCnt="3" custLinFactNeighborX="-59031" custLinFactNeighborY="-2279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B56B52-6DD8-1E4B-9BC9-D04F47FF8FDC}" type="pres">
      <dgm:prSet presAssocID="{2B5A1D77-EE35-C844-8707-5C2FFFE72278}" presName="aSpace" presStyleCnt="0"/>
      <dgm:spPr/>
    </dgm:pt>
    <dgm:pt modelId="{66A01F04-A7BB-1A4C-901A-7A61BA36700F}" type="pres">
      <dgm:prSet presAssocID="{E8351ECC-171F-8B4C-8FEE-B100BDD821F3}" presName="compNode" presStyleCnt="0"/>
      <dgm:spPr/>
    </dgm:pt>
    <dgm:pt modelId="{338B7D3B-C3CD-6F40-B27D-FCB8E253BB0F}" type="pres">
      <dgm:prSet presAssocID="{E8351ECC-171F-8B4C-8FEE-B100BDD821F3}" presName="noGeometry" presStyleCnt="0"/>
      <dgm:spPr/>
    </dgm:pt>
    <dgm:pt modelId="{82F879E6-4BC6-CA42-AA4D-34C59CC1AB89}" type="pres">
      <dgm:prSet presAssocID="{E8351ECC-171F-8B4C-8FEE-B100BDD821F3}" presName="childTextVisible" presStyleLbl="bgAccFollowNode1" presStyleIdx="1" presStyleCnt="3" custScaleX="163808" custLinFactNeighborX="229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25DB5C-14CE-7344-85B8-60403D5C5A32}" type="pres">
      <dgm:prSet presAssocID="{E8351ECC-171F-8B4C-8FEE-B100BDD821F3}" presName="childTextHidden" presStyleLbl="bgAccFollowNode1" presStyleIdx="1" presStyleCnt="3"/>
      <dgm:spPr/>
      <dgm:t>
        <a:bodyPr/>
        <a:lstStyle/>
        <a:p>
          <a:endParaRPr lang="en-US"/>
        </a:p>
      </dgm:t>
    </dgm:pt>
    <dgm:pt modelId="{E32148F5-368C-D74F-AED7-A501E22BC7CB}" type="pres">
      <dgm:prSet presAssocID="{E8351ECC-171F-8B4C-8FEE-B100BDD821F3}" presName="parentText" presStyleLbl="node1" presStyleIdx="1" presStyleCnt="3" custLinFactNeighborX="-14475" custLinFactNeighborY="-1231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B8316F-537E-0C42-B5AD-CFBE0EA21F3F}" type="pres">
      <dgm:prSet presAssocID="{E8351ECC-171F-8B4C-8FEE-B100BDD821F3}" presName="aSpace" presStyleCnt="0"/>
      <dgm:spPr/>
    </dgm:pt>
    <dgm:pt modelId="{120C0DE0-1294-2346-AF0F-407223ED4550}" type="pres">
      <dgm:prSet presAssocID="{9C4A24E8-FEF2-7742-B9A7-ECD0EB4AC5CA}" presName="compNode" presStyleCnt="0"/>
      <dgm:spPr/>
    </dgm:pt>
    <dgm:pt modelId="{1B1E86D7-FAFC-A349-9162-7881296A4E71}" type="pres">
      <dgm:prSet presAssocID="{9C4A24E8-FEF2-7742-B9A7-ECD0EB4AC5CA}" presName="noGeometry" presStyleCnt="0"/>
      <dgm:spPr/>
    </dgm:pt>
    <dgm:pt modelId="{617B6776-1E0B-6B48-A000-6C3C97AC9FCF}" type="pres">
      <dgm:prSet presAssocID="{9C4A24E8-FEF2-7742-B9A7-ECD0EB4AC5CA}" presName="childTextVisible" presStyleLbl="bgAccFollowNode1" presStyleIdx="2" presStyleCnt="3" custScaleX="147791" custLinFactNeighborX="460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422083-7380-B64A-A4CE-C16063F7AD57}" type="pres">
      <dgm:prSet presAssocID="{9C4A24E8-FEF2-7742-B9A7-ECD0EB4AC5CA}" presName="childTextHidden" presStyleLbl="bgAccFollowNode1" presStyleIdx="2" presStyleCnt="3"/>
      <dgm:spPr/>
      <dgm:t>
        <a:bodyPr/>
        <a:lstStyle/>
        <a:p>
          <a:endParaRPr lang="en-US"/>
        </a:p>
      </dgm:t>
    </dgm:pt>
    <dgm:pt modelId="{712F857B-6A82-3F46-A6FE-7979AA087EC6}" type="pres">
      <dgm:prSet presAssocID="{9C4A24E8-FEF2-7742-B9A7-ECD0EB4AC5CA}" presName="parentText" presStyleLbl="node1" presStyleIdx="2" presStyleCnt="3" custLinFactNeighborX="45983" custLinFactNeighborY="-17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2A03B6D-E08D-6448-B123-E00479777B39}" type="presOf" srcId="{DE38C53F-06EF-ED4D-98F8-53F95D630B72}" destId="{82F879E6-4BC6-CA42-AA4D-34C59CC1AB89}" srcOrd="0" destOrd="0" presId="urn:microsoft.com/office/officeart/2005/8/layout/hProcess6"/>
    <dgm:cxn modelId="{0FCDE7E4-29C9-B041-979B-3C846DD2DA02}" srcId="{31D06A2A-FAA0-8A40-8BDF-9C0728A1142E}" destId="{9C4A24E8-FEF2-7742-B9A7-ECD0EB4AC5CA}" srcOrd="2" destOrd="0" parTransId="{2E803EFE-720A-7643-88B5-B7C51F99B9F6}" sibTransId="{72BB586B-4A05-9043-878A-BCF3F359C311}"/>
    <dgm:cxn modelId="{46204274-A509-E54B-B9BA-9CB0671A26C5}" srcId="{31D06A2A-FAA0-8A40-8BDF-9C0728A1142E}" destId="{2B5A1D77-EE35-C844-8707-5C2FFFE72278}" srcOrd="0" destOrd="0" parTransId="{C0F7F5AC-FFC0-A44F-B91C-022763719951}" sibTransId="{8CAABB8B-ECA4-7048-ACD0-BC1BBC11398A}"/>
    <dgm:cxn modelId="{4952B1D4-D825-4044-8EC1-86E0B2710CAF}" srcId="{E8351ECC-171F-8B4C-8FEE-B100BDD821F3}" destId="{DE38C53F-06EF-ED4D-98F8-53F95D630B72}" srcOrd="0" destOrd="0" parTransId="{7AB2048D-BCC6-6E4D-873C-A1CCD801BA90}" sibTransId="{424C7815-3581-0840-AD26-CF1AE6656E24}"/>
    <dgm:cxn modelId="{C0023539-1CF3-D044-94AC-954DF1D887F1}" type="presOf" srcId="{31D06A2A-FAA0-8A40-8BDF-9C0728A1142E}" destId="{CD5F2FF5-A951-694E-AC68-943E4250C764}" srcOrd="0" destOrd="0" presId="urn:microsoft.com/office/officeart/2005/8/layout/hProcess6"/>
    <dgm:cxn modelId="{E19714C3-C7B3-7542-A160-0FD9B6B25566}" type="presOf" srcId="{DDA4B5C3-495B-264E-BDE6-944DD4E6D371}" destId="{A6422083-7380-B64A-A4CE-C16063F7AD57}" srcOrd="1" destOrd="0" presId="urn:microsoft.com/office/officeart/2005/8/layout/hProcess6"/>
    <dgm:cxn modelId="{E5EB9089-F9C8-8D43-99E1-8D85B6F5087A}" type="presOf" srcId="{9C4A24E8-FEF2-7742-B9A7-ECD0EB4AC5CA}" destId="{712F857B-6A82-3F46-A6FE-7979AA087EC6}" srcOrd="0" destOrd="0" presId="urn:microsoft.com/office/officeart/2005/8/layout/hProcess6"/>
    <dgm:cxn modelId="{1CFBDC13-D592-CB48-8500-08E46E56C658}" type="presOf" srcId="{2B5A1D77-EE35-C844-8707-5C2FFFE72278}" destId="{574AE063-6E5E-174F-A03F-54AAA41CF164}" srcOrd="0" destOrd="0" presId="urn:microsoft.com/office/officeart/2005/8/layout/hProcess6"/>
    <dgm:cxn modelId="{A807EEA3-7A1D-F949-867F-47695BEEF73E}" type="presOf" srcId="{DE38C53F-06EF-ED4D-98F8-53F95D630B72}" destId="{A325DB5C-14CE-7344-85B8-60403D5C5A32}" srcOrd="1" destOrd="0" presId="urn:microsoft.com/office/officeart/2005/8/layout/hProcess6"/>
    <dgm:cxn modelId="{257436ED-C976-7641-BC92-548F0DCE485D}" srcId="{31D06A2A-FAA0-8A40-8BDF-9C0728A1142E}" destId="{E8351ECC-171F-8B4C-8FEE-B100BDD821F3}" srcOrd="1" destOrd="0" parTransId="{A492488B-A6A5-BA41-88E4-5C266464E0DE}" sibTransId="{BEE175CD-3C6E-924D-B6CD-3844DB637564}"/>
    <dgm:cxn modelId="{470FBCE3-1D59-294D-BC27-961162D0E2B6}" srcId="{9C4A24E8-FEF2-7742-B9A7-ECD0EB4AC5CA}" destId="{DDA4B5C3-495B-264E-BDE6-944DD4E6D371}" srcOrd="0" destOrd="0" parTransId="{9C35D7EE-601C-E04E-8FE7-974247AA92BB}" sibTransId="{94F8DDC6-9483-9743-A24E-BAA8B0F7F904}"/>
    <dgm:cxn modelId="{7A3DB651-74D9-7843-9C82-14DAC916EF9C}" srcId="{2B5A1D77-EE35-C844-8707-5C2FFFE72278}" destId="{3225F5BD-E0E9-1A47-9BBA-4CE0EAA9B94A}" srcOrd="0" destOrd="0" parTransId="{075B5AEE-432F-8F40-A998-9C2438458C3A}" sibTransId="{C63D5F57-9C15-CA4C-BE6F-5F29C2161E7E}"/>
    <dgm:cxn modelId="{4E236368-B639-044D-B079-EE3992F95F13}" type="presOf" srcId="{3225F5BD-E0E9-1A47-9BBA-4CE0EAA9B94A}" destId="{A50DD6B6-DBB2-6848-AA81-8379CD2B549D}" srcOrd="1" destOrd="0" presId="urn:microsoft.com/office/officeart/2005/8/layout/hProcess6"/>
    <dgm:cxn modelId="{EC78DEB0-995F-D348-BA42-5D9FD2AE7A9B}" type="presOf" srcId="{DDA4B5C3-495B-264E-BDE6-944DD4E6D371}" destId="{617B6776-1E0B-6B48-A000-6C3C97AC9FCF}" srcOrd="0" destOrd="0" presId="urn:microsoft.com/office/officeart/2005/8/layout/hProcess6"/>
    <dgm:cxn modelId="{3B0FFBDB-1DA7-EB4D-9F76-F3AAE15DA879}" type="presOf" srcId="{E8351ECC-171F-8B4C-8FEE-B100BDD821F3}" destId="{E32148F5-368C-D74F-AED7-A501E22BC7CB}" srcOrd="0" destOrd="0" presId="urn:microsoft.com/office/officeart/2005/8/layout/hProcess6"/>
    <dgm:cxn modelId="{7C6FD00C-C8E6-4940-B46A-63462BA8F5F4}" type="presOf" srcId="{3225F5BD-E0E9-1A47-9BBA-4CE0EAA9B94A}" destId="{E00F160F-B0E2-CE4D-8EEF-7F361C516B52}" srcOrd="0" destOrd="0" presId="urn:microsoft.com/office/officeart/2005/8/layout/hProcess6"/>
    <dgm:cxn modelId="{8DE4A9B3-7BC1-044F-8E83-5CCC0315926C}" type="presParOf" srcId="{CD5F2FF5-A951-694E-AC68-943E4250C764}" destId="{62F76671-BDCF-2841-AC2B-C1BF49B444D2}" srcOrd="0" destOrd="0" presId="urn:microsoft.com/office/officeart/2005/8/layout/hProcess6"/>
    <dgm:cxn modelId="{0666E7DE-CED1-CC4A-B18A-F03DBC160522}" type="presParOf" srcId="{62F76671-BDCF-2841-AC2B-C1BF49B444D2}" destId="{6FDFE4A5-4159-8240-A04A-ED528EAD70F1}" srcOrd="0" destOrd="0" presId="urn:microsoft.com/office/officeart/2005/8/layout/hProcess6"/>
    <dgm:cxn modelId="{647FC121-60AD-D342-A505-9ED5CFF31A6D}" type="presParOf" srcId="{62F76671-BDCF-2841-AC2B-C1BF49B444D2}" destId="{E00F160F-B0E2-CE4D-8EEF-7F361C516B52}" srcOrd="1" destOrd="0" presId="urn:microsoft.com/office/officeart/2005/8/layout/hProcess6"/>
    <dgm:cxn modelId="{4C32D38D-81DD-434C-BFA6-11173A0EDCFD}" type="presParOf" srcId="{62F76671-BDCF-2841-AC2B-C1BF49B444D2}" destId="{A50DD6B6-DBB2-6848-AA81-8379CD2B549D}" srcOrd="2" destOrd="0" presId="urn:microsoft.com/office/officeart/2005/8/layout/hProcess6"/>
    <dgm:cxn modelId="{6164191D-40C9-5E43-9BAF-94D0EE24487A}" type="presParOf" srcId="{62F76671-BDCF-2841-AC2B-C1BF49B444D2}" destId="{574AE063-6E5E-174F-A03F-54AAA41CF164}" srcOrd="3" destOrd="0" presId="urn:microsoft.com/office/officeart/2005/8/layout/hProcess6"/>
    <dgm:cxn modelId="{034AE6E8-BE3B-DC49-89AB-CD5370F30EA7}" type="presParOf" srcId="{CD5F2FF5-A951-694E-AC68-943E4250C764}" destId="{6AB56B52-6DD8-1E4B-9BC9-D04F47FF8FDC}" srcOrd="1" destOrd="0" presId="urn:microsoft.com/office/officeart/2005/8/layout/hProcess6"/>
    <dgm:cxn modelId="{19AFC62B-7CA7-6343-A17D-36C6F4588498}" type="presParOf" srcId="{CD5F2FF5-A951-694E-AC68-943E4250C764}" destId="{66A01F04-A7BB-1A4C-901A-7A61BA36700F}" srcOrd="2" destOrd="0" presId="urn:microsoft.com/office/officeart/2005/8/layout/hProcess6"/>
    <dgm:cxn modelId="{9365E5C0-5EE5-6A48-B4E6-1C4BFCECA616}" type="presParOf" srcId="{66A01F04-A7BB-1A4C-901A-7A61BA36700F}" destId="{338B7D3B-C3CD-6F40-B27D-FCB8E253BB0F}" srcOrd="0" destOrd="0" presId="urn:microsoft.com/office/officeart/2005/8/layout/hProcess6"/>
    <dgm:cxn modelId="{DB2ED866-1C13-524A-B636-94A699ACAFCC}" type="presParOf" srcId="{66A01F04-A7BB-1A4C-901A-7A61BA36700F}" destId="{82F879E6-4BC6-CA42-AA4D-34C59CC1AB89}" srcOrd="1" destOrd="0" presId="urn:microsoft.com/office/officeart/2005/8/layout/hProcess6"/>
    <dgm:cxn modelId="{763D2D3E-3CA1-A04F-92CC-4AE5E53B954E}" type="presParOf" srcId="{66A01F04-A7BB-1A4C-901A-7A61BA36700F}" destId="{A325DB5C-14CE-7344-85B8-60403D5C5A32}" srcOrd="2" destOrd="0" presId="urn:microsoft.com/office/officeart/2005/8/layout/hProcess6"/>
    <dgm:cxn modelId="{3A237DEE-6108-C942-BF1F-59E9419146F1}" type="presParOf" srcId="{66A01F04-A7BB-1A4C-901A-7A61BA36700F}" destId="{E32148F5-368C-D74F-AED7-A501E22BC7CB}" srcOrd="3" destOrd="0" presId="urn:microsoft.com/office/officeart/2005/8/layout/hProcess6"/>
    <dgm:cxn modelId="{F18201C8-E53B-964D-932B-EAC3BC2345A9}" type="presParOf" srcId="{CD5F2FF5-A951-694E-AC68-943E4250C764}" destId="{0DB8316F-537E-0C42-B5AD-CFBE0EA21F3F}" srcOrd="3" destOrd="0" presId="urn:microsoft.com/office/officeart/2005/8/layout/hProcess6"/>
    <dgm:cxn modelId="{A440FBF3-7855-304F-A5C4-0BEB3D47ED41}" type="presParOf" srcId="{CD5F2FF5-A951-694E-AC68-943E4250C764}" destId="{120C0DE0-1294-2346-AF0F-407223ED4550}" srcOrd="4" destOrd="0" presId="urn:microsoft.com/office/officeart/2005/8/layout/hProcess6"/>
    <dgm:cxn modelId="{24ACA42B-44B5-7040-8429-4CF00531A29F}" type="presParOf" srcId="{120C0DE0-1294-2346-AF0F-407223ED4550}" destId="{1B1E86D7-FAFC-A349-9162-7881296A4E71}" srcOrd="0" destOrd="0" presId="urn:microsoft.com/office/officeart/2005/8/layout/hProcess6"/>
    <dgm:cxn modelId="{2181F9B0-85FB-8A42-8BEA-7A0F9F00A6FB}" type="presParOf" srcId="{120C0DE0-1294-2346-AF0F-407223ED4550}" destId="{617B6776-1E0B-6B48-A000-6C3C97AC9FCF}" srcOrd="1" destOrd="0" presId="urn:microsoft.com/office/officeart/2005/8/layout/hProcess6"/>
    <dgm:cxn modelId="{8856A309-3FA4-134F-A7EB-D87A374014B4}" type="presParOf" srcId="{120C0DE0-1294-2346-AF0F-407223ED4550}" destId="{A6422083-7380-B64A-A4CE-C16063F7AD57}" srcOrd="2" destOrd="0" presId="urn:microsoft.com/office/officeart/2005/8/layout/hProcess6"/>
    <dgm:cxn modelId="{1FA0FF83-F654-C54B-BE4F-FE6DE9EEE5BF}" type="presParOf" srcId="{120C0DE0-1294-2346-AF0F-407223ED4550}" destId="{712F857B-6A82-3F46-A6FE-7979AA087EC6}" srcOrd="3" destOrd="0" presId="urn:microsoft.com/office/officeart/2005/8/layout/hProcess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D2057C5-E562-4C43-BDE7-2254BF715629}" type="doc">
      <dgm:prSet loTypeId="urn:microsoft.com/office/officeart/2009/3/layout/StepUpProcess" loCatId="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6D42AE93-7067-0D44-9AB8-8E830AA7AEE3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1104"/>
            </a:spcAft>
          </a:pPr>
          <a:r>
            <a:rPr lang="en-US" sz="1200" dirty="0" err="1"/>
            <a:t>Phát</a:t>
          </a:r>
          <a:r>
            <a:rPr lang="en-US" sz="1200" dirty="0"/>
            <a:t> </a:t>
          </a:r>
          <a:r>
            <a:rPr lang="en-US" sz="1200" dirty="0" err="1"/>
            <a:t>triển</a:t>
          </a:r>
          <a:r>
            <a:rPr lang="en-US" sz="1200" dirty="0"/>
            <a:t> S/W </a:t>
          </a:r>
          <a:r>
            <a:rPr lang="en-US" sz="1200" dirty="0" err="1"/>
            <a:t>phái</a:t>
          </a:r>
          <a:r>
            <a:rPr lang="en-US" sz="1200" dirty="0"/>
            <a:t> </a:t>
          </a:r>
          <a:r>
            <a:rPr lang="en-US" sz="1200" dirty="0" err="1"/>
            <a:t>sinh</a:t>
          </a:r>
          <a:r>
            <a:rPr lang="en-US" sz="1200" dirty="0"/>
            <a:t>,</a:t>
          </a:r>
        </a:p>
        <a:p>
          <a:pPr>
            <a:lnSpc>
              <a:spcPct val="100000"/>
            </a:lnSpc>
            <a:spcAft>
              <a:spcPts val="1104"/>
            </a:spcAft>
          </a:pPr>
          <a:r>
            <a:rPr lang="en-US" sz="1200" dirty="0" err="1"/>
            <a:t>Ngôn</a:t>
          </a:r>
          <a:r>
            <a:rPr lang="en-US" sz="1200" dirty="0"/>
            <a:t> </a:t>
          </a:r>
          <a:r>
            <a:rPr lang="en-US" sz="1200" dirty="0" err="1"/>
            <a:t>ngữ</a:t>
          </a:r>
          <a:r>
            <a:rPr lang="en-US" sz="1200" dirty="0"/>
            <a:t> </a:t>
          </a:r>
          <a:r>
            <a:rPr lang="en-US" sz="1200" dirty="0" err="1"/>
            <a:t>khu</a:t>
          </a:r>
          <a:r>
            <a:rPr lang="en-US" sz="1200" dirty="0"/>
            <a:t> </a:t>
          </a:r>
          <a:r>
            <a:rPr lang="en-US" sz="1200" dirty="0" err="1"/>
            <a:t>vực</a:t>
          </a:r>
          <a:r>
            <a:rPr lang="en-US" sz="1200" dirty="0"/>
            <a:t>, Network..</a:t>
          </a:r>
        </a:p>
      </dgm:t>
    </dgm:pt>
    <dgm:pt modelId="{EA5CB393-1311-E24C-AF89-CE8895B37FA7}" type="parTrans" cxnId="{6E372C7D-1CC5-0047-844B-F6A3D7033045}">
      <dgm:prSet/>
      <dgm:spPr/>
      <dgm:t>
        <a:bodyPr/>
        <a:lstStyle/>
        <a:p>
          <a:endParaRPr lang="en-US"/>
        </a:p>
      </dgm:t>
    </dgm:pt>
    <dgm:pt modelId="{010AB9A8-D86F-F641-90F1-C422C8654980}" type="sibTrans" cxnId="{6E372C7D-1CC5-0047-844B-F6A3D7033045}">
      <dgm:prSet/>
      <dgm:spPr/>
      <dgm:t>
        <a:bodyPr/>
        <a:lstStyle/>
        <a:p>
          <a:endParaRPr lang="en-US"/>
        </a:p>
      </dgm:t>
    </dgm:pt>
    <dgm:pt modelId="{87CAA6B8-150B-AF45-A86F-71239DB4A63E}">
      <dgm:prSet phldrT="[Text]" custT="1"/>
      <dgm:spPr/>
      <dgm:t>
        <a:bodyPr/>
        <a:lstStyle/>
        <a:p>
          <a:pPr>
            <a:spcAft>
              <a:spcPts val="1104"/>
            </a:spcAft>
          </a:pPr>
          <a:r>
            <a:rPr lang="en-US" sz="1200" dirty="0"/>
            <a:t>- Android OS Upgrade</a:t>
          </a:r>
        </a:p>
        <a:p>
          <a:pPr>
            <a:spcAft>
              <a:spcPts val="1104"/>
            </a:spcAft>
          </a:pPr>
          <a:r>
            <a:rPr lang="en-US" sz="1200" dirty="0"/>
            <a:t>- </a:t>
          </a:r>
          <a:r>
            <a:rPr lang="en-US" sz="1200" dirty="0" err="1"/>
            <a:t>Phát</a:t>
          </a:r>
          <a:r>
            <a:rPr lang="en-US" sz="1200" dirty="0"/>
            <a:t> </a:t>
          </a:r>
          <a:r>
            <a:rPr lang="en-US" sz="1200" dirty="0" err="1"/>
            <a:t>triển</a:t>
          </a:r>
          <a:r>
            <a:rPr lang="en-US" sz="1200" dirty="0"/>
            <a:t> Base S/W</a:t>
          </a:r>
        </a:p>
      </dgm:t>
    </dgm:pt>
    <dgm:pt modelId="{6BEB62B0-5A3B-5F4F-B593-1C8AFA1B3860}" type="parTrans" cxnId="{9AD40120-FA45-1F4C-B5A0-677E08B89969}">
      <dgm:prSet/>
      <dgm:spPr/>
      <dgm:t>
        <a:bodyPr/>
        <a:lstStyle/>
        <a:p>
          <a:endParaRPr lang="en-US"/>
        </a:p>
      </dgm:t>
    </dgm:pt>
    <dgm:pt modelId="{3B15AF54-B35B-4544-8459-D15AA1BDF827}" type="sibTrans" cxnId="{9AD40120-FA45-1F4C-B5A0-677E08B89969}">
      <dgm:prSet/>
      <dgm:spPr/>
      <dgm:t>
        <a:bodyPr/>
        <a:lstStyle/>
        <a:p>
          <a:endParaRPr lang="en-US"/>
        </a:p>
      </dgm:t>
    </dgm:pt>
    <dgm:pt modelId="{A951A709-5A83-CE43-81F0-246EA32D4C20}">
      <dgm:prSet phldrT="[Text]" custT="1"/>
      <dgm:spPr/>
      <dgm:t>
        <a:bodyPr/>
        <a:lstStyle/>
        <a:p>
          <a:pPr>
            <a:spcAft>
              <a:spcPts val="1200"/>
            </a:spcAft>
          </a:pPr>
          <a:r>
            <a:rPr lang="en-US" sz="1200" dirty="0" err="1"/>
            <a:t>Lần</a:t>
          </a:r>
          <a:r>
            <a:rPr lang="en-US" sz="1200" dirty="0"/>
            <a:t> </a:t>
          </a:r>
          <a:r>
            <a:rPr lang="en-US" sz="1200" dirty="0" err="1"/>
            <a:t>đầu</a:t>
          </a:r>
          <a:r>
            <a:rPr lang="en-US" sz="1200" dirty="0"/>
            <a:t> </a:t>
          </a:r>
          <a:r>
            <a:rPr lang="en-US" sz="1200" dirty="0" err="1"/>
            <a:t>tiên</a:t>
          </a:r>
          <a:r>
            <a:rPr lang="en-US" sz="1200" dirty="0"/>
            <a:t> </a:t>
          </a:r>
          <a:r>
            <a:rPr lang="en-US" sz="1200" dirty="0" err="1"/>
            <a:t>phát</a:t>
          </a:r>
          <a:r>
            <a:rPr lang="en-US" sz="1200" dirty="0"/>
            <a:t> </a:t>
          </a:r>
          <a:r>
            <a:rPr lang="en-US" sz="1200" dirty="0" err="1"/>
            <a:t>triển</a:t>
          </a:r>
          <a:r>
            <a:rPr lang="en-US" sz="1200" dirty="0"/>
            <a:t> Basic S/W </a:t>
          </a:r>
          <a:r>
            <a:rPr lang="en-US" sz="1200" dirty="0" err="1"/>
            <a:t>và</a:t>
          </a:r>
          <a:r>
            <a:rPr lang="en-US" sz="1200" dirty="0"/>
            <a:t> </a:t>
          </a:r>
          <a:r>
            <a:rPr lang="en-US" sz="1200" dirty="0" err="1"/>
            <a:t>các</a:t>
          </a:r>
          <a:r>
            <a:rPr lang="en-US" sz="1200" dirty="0"/>
            <a:t> </a:t>
          </a:r>
          <a:r>
            <a:rPr lang="en-US" sz="1200" dirty="0" err="1"/>
            <a:t>tính</a:t>
          </a:r>
          <a:r>
            <a:rPr lang="en-US" sz="1200" dirty="0"/>
            <a:t> </a:t>
          </a:r>
          <a:r>
            <a:rPr lang="en-US" sz="1200" dirty="0" err="1"/>
            <a:t>năng</a:t>
          </a:r>
          <a:r>
            <a:rPr lang="en-US" sz="1200" dirty="0"/>
            <a:t> </a:t>
          </a:r>
          <a:r>
            <a:rPr lang="en-US" sz="1200" dirty="0" err="1"/>
            <a:t>mới</a:t>
          </a:r>
          <a:endParaRPr lang="en-US" sz="1200" dirty="0"/>
        </a:p>
      </dgm:t>
    </dgm:pt>
    <dgm:pt modelId="{2862091E-91CC-864D-AA39-3E09BFF3E2ED}" type="parTrans" cxnId="{F72BB5E4-5808-7F4B-B8BD-60C975078C49}">
      <dgm:prSet/>
      <dgm:spPr/>
      <dgm:t>
        <a:bodyPr/>
        <a:lstStyle/>
        <a:p>
          <a:endParaRPr lang="en-US"/>
        </a:p>
      </dgm:t>
    </dgm:pt>
    <dgm:pt modelId="{60520584-8668-1F45-9267-DAEACB457A24}" type="sibTrans" cxnId="{F72BB5E4-5808-7F4B-B8BD-60C975078C49}">
      <dgm:prSet/>
      <dgm:spPr/>
      <dgm:t>
        <a:bodyPr/>
        <a:lstStyle/>
        <a:p>
          <a:endParaRPr lang="en-US"/>
        </a:p>
      </dgm:t>
    </dgm:pt>
    <dgm:pt modelId="{3091C003-EF8F-6343-AAA7-95B8795AFA22}">
      <dgm:prSet phldrT="[Text]" custT="1"/>
      <dgm:spPr/>
      <dgm:t>
        <a:bodyPr/>
        <a:lstStyle/>
        <a:p>
          <a:r>
            <a:rPr lang="en-US" sz="1200" dirty="0" err="1"/>
            <a:t>Phát</a:t>
          </a:r>
          <a:r>
            <a:rPr lang="en-US" sz="1200" dirty="0"/>
            <a:t> </a:t>
          </a:r>
          <a:r>
            <a:rPr lang="en-US" sz="1200" dirty="0" err="1"/>
            <a:t>triển</a:t>
          </a:r>
          <a:r>
            <a:rPr lang="en-US" sz="1200" dirty="0"/>
            <a:t> Basic S/W </a:t>
          </a:r>
          <a:r>
            <a:rPr lang="en-US" sz="1200" dirty="0" err="1"/>
            <a:t>các</a:t>
          </a:r>
          <a:r>
            <a:rPr lang="en-US" sz="1200" dirty="0"/>
            <a:t> Model </a:t>
          </a:r>
          <a:r>
            <a:rPr lang="en-US" sz="1200" dirty="0" err="1"/>
            <a:t>đã</a:t>
          </a:r>
          <a:r>
            <a:rPr lang="en-US" sz="1200" dirty="0"/>
            <a:t> </a:t>
          </a:r>
          <a:r>
            <a:rPr lang="en-US" sz="1200" dirty="0" err="1"/>
            <a:t>được</a:t>
          </a:r>
          <a:r>
            <a:rPr lang="en-US" sz="1200" dirty="0"/>
            <a:t> </a:t>
          </a:r>
          <a:r>
            <a:rPr lang="en-US" sz="1200" dirty="0" err="1"/>
            <a:t>bán</a:t>
          </a:r>
          <a:r>
            <a:rPr lang="en-US" sz="1200" dirty="0"/>
            <a:t> </a:t>
          </a:r>
          <a:r>
            <a:rPr lang="en-US" sz="1200" dirty="0" err="1"/>
            <a:t>trên</a:t>
          </a:r>
          <a:r>
            <a:rPr lang="en-US" sz="1200" dirty="0"/>
            <a:t> </a:t>
          </a:r>
          <a:r>
            <a:rPr lang="en-US" sz="1200" dirty="0" err="1"/>
            <a:t>thị</a:t>
          </a:r>
          <a:r>
            <a:rPr lang="en-US" sz="1200" dirty="0"/>
            <a:t> </a:t>
          </a:r>
          <a:r>
            <a:rPr lang="en-US" sz="1200" dirty="0" err="1"/>
            <a:t>trường</a:t>
          </a:r>
          <a:endParaRPr lang="en-US" sz="1200" dirty="0"/>
        </a:p>
      </dgm:t>
    </dgm:pt>
    <dgm:pt modelId="{9A75EF3A-701B-F046-B118-C0B7C8DA80C2}" type="parTrans" cxnId="{1DC78D04-E295-2D47-B2D6-3DBD92CFA22C}">
      <dgm:prSet/>
      <dgm:spPr/>
      <dgm:t>
        <a:bodyPr/>
        <a:lstStyle/>
        <a:p>
          <a:endParaRPr lang="en-US"/>
        </a:p>
      </dgm:t>
    </dgm:pt>
    <dgm:pt modelId="{1EEDA59E-3A38-1F4B-A0EE-32D3D96A6941}" type="sibTrans" cxnId="{1DC78D04-E295-2D47-B2D6-3DBD92CFA22C}">
      <dgm:prSet/>
      <dgm:spPr/>
      <dgm:t>
        <a:bodyPr/>
        <a:lstStyle/>
        <a:p>
          <a:endParaRPr lang="en-US"/>
        </a:p>
      </dgm:t>
    </dgm:pt>
    <dgm:pt modelId="{46A1FDF3-4F5B-5B45-BD34-819C0407816F}">
      <dgm:prSet phldrT="[Text]" custT="1"/>
      <dgm:spPr/>
      <dgm:t>
        <a:bodyPr/>
        <a:lstStyle/>
        <a:p>
          <a:r>
            <a:rPr lang="en-US" sz="1200" dirty="0"/>
            <a:t>Galaxy J2</a:t>
          </a:r>
        </a:p>
      </dgm:t>
    </dgm:pt>
    <dgm:pt modelId="{FA6156F2-B3F5-0B42-9902-1FE727904BFF}" type="parTrans" cxnId="{A4BCE652-48FE-0840-8094-186B70093928}">
      <dgm:prSet/>
      <dgm:spPr/>
      <dgm:t>
        <a:bodyPr/>
        <a:lstStyle/>
        <a:p>
          <a:endParaRPr lang="en-US"/>
        </a:p>
      </dgm:t>
    </dgm:pt>
    <dgm:pt modelId="{6C0E67AD-2925-854F-B435-40D5A3BEC16D}" type="sibTrans" cxnId="{A4BCE652-48FE-0840-8094-186B70093928}">
      <dgm:prSet/>
      <dgm:spPr/>
      <dgm:t>
        <a:bodyPr/>
        <a:lstStyle/>
        <a:p>
          <a:endParaRPr lang="en-US"/>
        </a:p>
      </dgm:t>
    </dgm:pt>
    <dgm:pt modelId="{9B47444A-E80A-7A47-B222-1FD5332270CD}">
      <dgm:prSet phldrT="[Text]" custT="1"/>
      <dgm:spPr/>
      <dgm:t>
        <a:bodyPr/>
        <a:lstStyle/>
        <a:p>
          <a:r>
            <a:rPr lang="en-US" sz="1200" dirty="0"/>
            <a:t>Galaxy A6</a:t>
          </a:r>
        </a:p>
      </dgm:t>
    </dgm:pt>
    <dgm:pt modelId="{F256A4E5-0AC7-3B41-9B21-1C8AC49025E8}" type="parTrans" cxnId="{EBC34ED6-0C31-534B-B5D5-AADFD8481BD9}">
      <dgm:prSet/>
      <dgm:spPr/>
      <dgm:t>
        <a:bodyPr/>
        <a:lstStyle/>
        <a:p>
          <a:endParaRPr lang="en-US"/>
        </a:p>
      </dgm:t>
    </dgm:pt>
    <dgm:pt modelId="{EA620DD8-7323-EC4C-AB9A-D98F2217F975}" type="sibTrans" cxnId="{EBC34ED6-0C31-534B-B5D5-AADFD8481BD9}">
      <dgm:prSet/>
      <dgm:spPr/>
      <dgm:t>
        <a:bodyPr/>
        <a:lstStyle/>
        <a:p>
          <a:endParaRPr lang="en-US"/>
        </a:p>
      </dgm:t>
    </dgm:pt>
    <dgm:pt modelId="{94454302-1646-6B4C-8B05-7D6E13DE3860}">
      <dgm:prSet phldrT="[Text]" custT="1"/>
      <dgm:spPr/>
      <dgm:t>
        <a:bodyPr/>
        <a:lstStyle/>
        <a:p>
          <a:r>
            <a:rPr lang="en-US" sz="1200" dirty="0"/>
            <a:t>Galaxy J6</a:t>
          </a:r>
        </a:p>
      </dgm:t>
    </dgm:pt>
    <dgm:pt modelId="{376CD64B-4156-1546-86F7-A9A557DCBA1F}" type="parTrans" cxnId="{17828086-8A2D-3246-ABA1-45A87D793654}">
      <dgm:prSet/>
      <dgm:spPr/>
      <dgm:t>
        <a:bodyPr/>
        <a:lstStyle/>
        <a:p>
          <a:endParaRPr lang="en-US"/>
        </a:p>
      </dgm:t>
    </dgm:pt>
    <dgm:pt modelId="{FA51F265-AA5E-8240-8029-CF9B987584F4}" type="sibTrans" cxnId="{17828086-8A2D-3246-ABA1-45A87D793654}">
      <dgm:prSet/>
      <dgm:spPr/>
      <dgm:t>
        <a:bodyPr/>
        <a:lstStyle/>
        <a:p>
          <a:endParaRPr lang="en-US"/>
        </a:p>
      </dgm:t>
    </dgm:pt>
    <dgm:pt modelId="{23F9EA08-758B-B148-8CC2-F45A4A618A87}">
      <dgm:prSet phldrT="[Text]" custT="1"/>
      <dgm:spPr/>
      <dgm:t>
        <a:bodyPr/>
        <a:lstStyle/>
        <a:p>
          <a:pPr>
            <a:spcAft>
              <a:spcPts val="1200"/>
            </a:spcAft>
          </a:pPr>
          <a:r>
            <a:rPr lang="en-US" sz="1200" dirty="0"/>
            <a:t>Galaxy A7 </a:t>
          </a:r>
        </a:p>
      </dgm:t>
    </dgm:pt>
    <dgm:pt modelId="{97CCCBA5-4133-DD4D-BB5D-E72D90F6B6BF}" type="parTrans" cxnId="{7D518CD8-C6F6-6749-B7A2-252AC9E6C455}">
      <dgm:prSet/>
      <dgm:spPr/>
      <dgm:t>
        <a:bodyPr/>
        <a:lstStyle/>
        <a:p>
          <a:endParaRPr lang="en-US"/>
        </a:p>
      </dgm:t>
    </dgm:pt>
    <dgm:pt modelId="{E1E15076-3A80-5642-A74F-C43D73CEEEB0}" type="sibTrans" cxnId="{7D518CD8-C6F6-6749-B7A2-252AC9E6C455}">
      <dgm:prSet/>
      <dgm:spPr/>
      <dgm:t>
        <a:bodyPr/>
        <a:lstStyle/>
        <a:p>
          <a:endParaRPr lang="en-US"/>
        </a:p>
      </dgm:t>
    </dgm:pt>
    <dgm:pt modelId="{CF47B7DF-B1E3-2B48-812C-2FF94813D610}" type="pres">
      <dgm:prSet presAssocID="{0D2057C5-E562-4C43-BDE7-2254BF715629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9FCE0C74-4222-2743-AFD2-25B42E7AC65E}" type="pres">
      <dgm:prSet presAssocID="{6D42AE93-7067-0D44-9AB8-8E830AA7AEE3}" presName="composite" presStyleCnt="0"/>
      <dgm:spPr/>
    </dgm:pt>
    <dgm:pt modelId="{F3C7F12C-9EA5-2447-BD7E-7B211741F7CA}" type="pres">
      <dgm:prSet presAssocID="{6D42AE93-7067-0D44-9AB8-8E830AA7AEE3}" presName="LShape" presStyleLbl="alignNode1" presStyleIdx="0" presStyleCnt="7"/>
      <dgm:spPr/>
    </dgm:pt>
    <dgm:pt modelId="{56EBD1EA-247E-484C-8399-389CE69610C1}" type="pres">
      <dgm:prSet presAssocID="{6D42AE93-7067-0D44-9AB8-8E830AA7AEE3}" presName="ParentText" presStyleLbl="revTx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F11212-E864-8842-990F-CDDE0BBA038B}" type="pres">
      <dgm:prSet presAssocID="{6D42AE93-7067-0D44-9AB8-8E830AA7AEE3}" presName="Triangle" presStyleLbl="alignNode1" presStyleIdx="1" presStyleCnt="7"/>
      <dgm:spPr/>
    </dgm:pt>
    <dgm:pt modelId="{1E114694-625A-D044-9263-3402B83ACED2}" type="pres">
      <dgm:prSet presAssocID="{010AB9A8-D86F-F641-90F1-C422C8654980}" presName="sibTrans" presStyleCnt="0"/>
      <dgm:spPr/>
    </dgm:pt>
    <dgm:pt modelId="{E2F7516D-28A4-2F4A-8A78-092CA125D16D}" type="pres">
      <dgm:prSet presAssocID="{010AB9A8-D86F-F641-90F1-C422C8654980}" presName="space" presStyleCnt="0"/>
      <dgm:spPr/>
    </dgm:pt>
    <dgm:pt modelId="{F9901659-C758-2042-92EF-E64EA677B9B5}" type="pres">
      <dgm:prSet presAssocID="{87CAA6B8-150B-AF45-A86F-71239DB4A63E}" presName="composite" presStyleCnt="0"/>
      <dgm:spPr/>
    </dgm:pt>
    <dgm:pt modelId="{45F2A5C8-C6E7-8A45-854D-3C23D4F1F48C}" type="pres">
      <dgm:prSet presAssocID="{87CAA6B8-150B-AF45-A86F-71239DB4A63E}" presName="LShape" presStyleLbl="alignNode1" presStyleIdx="2" presStyleCnt="7"/>
      <dgm:spPr/>
    </dgm:pt>
    <dgm:pt modelId="{8C50A9B1-9FF4-4D47-9E4A-D1DD4046BC3E}" type="pres">
      <dgm:prSet presAssocID="{87CAA6B8-150B-AF45-A86F-71239DB4A63E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28D935-00FF-274A-A16C-3458D11EF9AF}" type="pres">
      <dgm:prSet presAssocID="{87CAA6B8-150B-AF45-A86F-71239DB4A63E}" presName="Triangle" presStyleLbl="alignNode1" presStyleIdx="3" presStyleCnt="7"/>
      <dgm:spPr/>
    </dgm:pt>
    <dgm:pt modelId="{42C78158-CEAB-1644-B7F1-F71FF00C6A52}" type="pres">
      <dgm:prSet presAssocID="{3B15AF54-B35B-4544-8459-D15AA1BDF827}" presName="sibTrans" presStyleCnt="0"/>
      <dgm:spPr/>
    </dgm:pt>
    <dgm:pt modelId="{C2A101AC-E767-E143-ABC7-7662088479B1}" type="pres">
      <dgm:prSet presAssocID="{3B15AF54-B35B-4544-8459-D15AA1BDF827}" presName="space" presStyleCnt="0"/>
      <dgm:spPr/>
    </dgm:pt>
    <dgm:pt modelId="{3EB7F069-9024-5444-91E8-82BE81AB2C2A}" type="pres">
      <dgm:prSet presAssocID="{3091C003-EF8F-6343-AAA7-95B8795AFA22}" presName="composite" presStyleCnt="0"/>
      <dgm:spPr/>
    </dgm:pt>
    <dgm:pt modelId="{1F167D4C-3C99-BB4E-AC52-AEC7676899F3}" type="pres">
      <dgm:prSet presAssocID="{3091C003-EF8F-6343-AAA7-95B8795AFA22}" presName="LShape" presStyleLbl="alignNode1" presStyleIdx="4" presStyleCnt="7"/>
      <dgm:spPr/>
    </dgm:pt>
    <dgm:pt modelId="{3D25F1C1-E986-DD43-AF1F-37EE62CA42B9}" type="pres">
      <dgm:prSet presAssocID="{3091C003-EF8F-6343-AAA7-95B8795AFA22}" presName="ParentText" presStyleLbl="revTx" presStyleIdx="2" presStyleCnt="4" custScaleX="9152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D2758E-F22B-BE40-A2E2-85ED12291388}" type="pres">
      <dgm:prSet presAssocID="{3091C003-EF8F-6343-AAA7-95B8795AFA22}" presName="Triangle" presStyleLbl="alignNode1" presStyleIdx="5" presStyleCnt="7"/>
      <dgm:spPr/>
    </dgm:pt>
    <dgm:pt modelId="{0E6146B1-D2D1-A847-B664-9941C4FEDF43}" type="pres">
      <dgm:prSet presAssocID="{1EEDA59E-3A38-1F4B-A0EE-32D3D96A6941}" presName="sibTrans" presStyleCnt="0"/>
      <dgm:spPr/>
    </dgm:pt>
    <dgm:pt modelId="{0E5C4D65-9F2C-A74B-8DD3-12D23D50BFE5}" type="pres">
      <dgm:prSet presAssocID="{1EEDA59E-3A38-1F4B-A0EE-32D3D96A6941}" presName="space" presStyleCnt="0"/>
      <dgm:spPr/>
    </dgm:pt>
    <dgm:pt modelId="{9FF38BAB-BFC4-DA44-9621-D778E7A49E26}" type="pres">
      <dgm:prSet presAssocID="{A951A709-5A83-CE43-81F0-246EA32D4C20}" presName="composite" presStyleCnt="0"/>
      <dgm:spPr/>
    </dgm:pt>
    <dgm:pt modelId="{53D06CD1-63DF-1041-A40C-DB2174C9704C}" type="pres">
      <dgm:prSet presAssocID="{A951A709-5A83-CE43-81F0-246EA32D4C20}" presName="LShape" presStyleLbl="alignNode1" presStyleIdx="6" presStyleCnt="7"/>
      <dgm:spPr/>
    </dgm:pt>
    <dgm:pt modelId="{2FCCE540-4207-6D47-AB2F-242426606888}" type="pres">
      <dgm:prSet presAssocID="{A951A709-5A83-CE43-81F0-246EA32D4C20}" presName="ParentText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21EDE1D-166F-8149-B4CE-EC41ACCD3BB5}" type="presOf" srcId="{6D42AE93-7067-0D44-9AB8-8E830AA7AEE3}" destId="{56EBD1EA-247E-484C-8399-389CE69610C1}" srcOrd="0" destOrd="0" presId="urn:microsoft.com/office/officeart/2009/3/layout/StepUpProcess"/>
    <dgm:cxn modelId="{8D673D99-1BD7-944E-A7BB-B823FC0D57AA}" type="presOf" srcId="{87CAA6B8-150B-AF45-A86F-71239DB4A63E}" destId="{8C50A9B1-9FF4-4D47-9E4A-D1DD4046BC3E}" srcOrd="0" destOrd="0" presId="urn:microsoft.com/office/officeart/2009/3/layout/StepUpProcess"/>
    <dgm:cxn modelId="{D4581665-81E7-BD4E-9831-59C145852376}" type="presOf" srcId="{46A1FDF3-4F5B-5B45-BD34-819C0407816F}" destId="{3D25F1C1-E986-DD43-AF1F-37EE62CA42B9}" srcOrd="0" destOrd="1" presId="urn:microsoft.com/office/officeart/2009/3/layout/StepUpProcess"/>
    <dgm:cxn modelId="{A4BCE652-48FE-0840-8094-186B70093928}" srcId="{3091C003-EF8F-6343-AAA7-95B8795AFA22}" destId="{46A1FDF3-4F5B-5B45-BD34-819C0407816F}" srcOrd="0" destOrd="0" parTransId="{FA6156F2-B3F5-0B42-9902-1FE727904BFF}" sibTransId="{6C0E67AD-2925-854F-B435-40D5A3BEC16D}"/>
    <dgm:cxn modelId="{1FF8EB50-45C5-F449-9A9B-F150B0973A16}" type="presOf" srcId="{23F9EA08-758B-B148-8CC2-F45A4A618A87}" destId="{2FCCE540-4207-6D47-AB2F-242426606888}" srcOrd="0" destOrd="1" presId="urn:microsoft.com/office/officeart/2009/3/layout/StepUpProcess"/>
    <dgm:cxn modelId="{6E372C7D-1CC5-0047-844B-F6A3D7033045}" srcId="{0D2057C5-E562-4C43-BDE7-2254BF715629}" destId="{6D42AE93-7067-0D44-9AB8-8E830AA7AEE3}" srcOrd="0" destOrd="0" parTransId="{EA5CB393-1311-E24C-AF89-CE8895B37FA7}" sibTransId="{010AB9A8-D86F-F641-90F1-C422C8654980}"/>
    <dgm:cxn modelId="{29A2440C-E026-694F-A573-79A4814D7095}" type="presOf" srcId="{9B47444A-E80A-7A47-B222-1FD5332270CD}" destId="{3D25F1C1-E986-DD43-AF1F-37EE62CA42B9}" srcOrd="0" destOrd="2" presId="urn:microsoft.com/office/officeart/2009/3/layout/StepUpProcess"/>
    <dgm:cxn modelId="{65E1BB5E-FBA8-3647-AC84-F3086BAB8458}" type="presOf" srcId="{94454302-1646-6B4C-8B05-7D6E13DE3860}" destId="{3D25F1C1-E986-DD43-AF1F-37EE62CA42B9}" srcOrd="0" destOrd="3" presId="urn:microsoft.com/office/officeart/2009/3/layout/StepUpProcess"/>
    <dgm:cxn modelId="{21E41CD1-37A0-A64F-9C09-BB6EEC2646DF}" type="presOf" srcId="{0D2057C5-E562-4C43-BDE7-2254BF715629}" destId="{CF47B7DF-B1E3-2B48-812C-2FF94813D610}" srcOrd="0" destOrd="0" presId="urn:microsoft.com/office/officeart/2009/3/layout/StepUpProcess"/>
    <dgm:cxn modelId="{1DC78D04-E295-2D47-B2D6-3DBD92CFA22C}" srcId="{0D2057C5-E562-4C43-BDE7-2254BF715629}" destId="{3091C003-EF8F-6343-AAA7-95B8795AFA22}" srcOrd="2" destOrd="0" parTransId="{9A75EF3A-701B-F046-B118-C0B7C8DA80C2}" sibTransId="{1EEDA59E-3A38-1F4B-A0EE-32D3D96A6941}"/>
    <dgm:cxn modelId="{EBC34ED6-0C31-534B-B5D5-AADFD8481BD9}" srcId="{3091C003-EF8F-6343-AAA7-95B8795AFA22}" destId="{9B47444A-E80A-7A47-B222-1FD5332270CD}" srcOrd="1" destOrd="0" parTransId="{F256A4E5-0AC7-3B41-9B21-1C8AC49025E8}" sibTransId="{EA620DD8-7323-EC4C-AB9A-D98F2217F975}"/>
    <dgm:cxn modelId="{9AD40120-FA45-1F4C-B5A0-677E08B89969}" srcId="{0D2057C5-E562-4C43-BDE7-2254BF715629}" destId="{87CAA6B8-150B-AF45-A86F-71239DB4A63E}" srcOrd="1" destOrd="0" parTransId="{6BEB62B0-5A3B-5F4F-B593-1C8AFA1B3860}" sibTransId="{3B15AF54-B35B-4544-8459-D15AA1BDF827}"/>
    <dgm:cxn modelId="{7D518CD8-C6F6-6749-B7A2-252AC9E6C455}" srcId="{A951A709-5A83-CE43-81F0-246EA32D4C20}" destId="{23F9EA08-758B-B148-8CC2-F45A4A618A87}" srcOrd="0" destOrd="0" parTransId="{97CCCBA5-4133-DD4D-BB5D-E72D90F6B6BF}" sibTransId="{E1E15076-3A80-5642-A74F-C43D73CEEEB0}"/>
    <dgm:cxn modelId="{4870FF4B-7850-7F4D-AE3E-A0B5030A7E9F}" type="presOf" srcId="{A951A709-5A83-CE43-81F0-246EA32D4C20}" destId="{2FCCE540-4207-6D47-AB2F-242426606888}" srcOrd="0" destOrd="0" presId="urn:microsoft.com/office/officeart/2009/3/layout/StepUpProcess"/>
    <dgm:cxn modelId="{F72BB5E4-5808-7F4B-B8BD-60C975078C49}" srcId="{0D2057C5-E562-4C43-BDE7-2254BF715629}" destId="{A951A709-5A83-CE43-81F0-246EA32D4C20}" srcOrd="3" destOrd="0" parTransId="{2862091E-91CC-864D-AA39-3E09BFF3E2ED}" sibTransId="{60520584-8668-1F45-9267-DAEACB457A24}"/>
    <dgm:cxn modelId="{49CF0ED4-0AA8-CF44-8AD9-15D43C00F478}" type="presOf" srcId="{3091C003-EF8F-6343-AAA7-95B8795AFA22}" destId="{3D25F1C1-E986-DD43-AF1F-37EE62CA42B9}" srcOrd="0" destOrd="0" presId="urn:microsoft.com/office/officeart/2009/3/layout/StepUpProcess"/>
    <dgm:cxn modelId="{17828086-8A2D-3246-ABA1-45A87D793654}" srcId="{3091C003-EF8F-6343-AAA7-95B8795AFA22}" destId="{94454302-1646-6B4C-8B05-7D6E13DE3860}" srcOrd="2" destOrd="0" parTransId="{376CD64B-4156-1546-86F7-A9A557DCBA1F}" sibTransId="{FA51F265-AA5E-8240-8029-CF9B987584F4}"/>
    <dgm:cxn modelId="{9DD58BA1-9589-8049-B93C-4B93F3D8992A}" type="presParOf" srcId="{CF47B7DF-B1E3-2B48-812C-2FF94813D610}" destId="{9FCE0C74-4222-2743-AFD2-25B42E7AC65E}" srcOrd="0" destOrd="0" presId="urn:microsoft.com/office/officeart/2009/3/layout/StepUpProcess"/>
    <dgm:cxn modelId="{F1EAA4B6-FB3E-0347-98F2-BF3380760880}" type="presParOf" srcId="{9FCE0C74-4222-2743-AFD2-25B42E7AC65E}" destId="{F3C7F12C-9EA5-2447-BD7E-7B211741F7CA}" srcOrd="0" destOrd="0" presId="urn:microsoft.com/office/officeart/2009/3/layout/StepUpProcess"/>
    <dgm:cxn modelId="{E9D1A758-7863-E94C-99F6-DE284835749B}" type="presParOf" srcId="{9FCE0C74-4222-2743-AFD2-25B42E7AC65E}" destId="{56EBD1EA-247E-484C-8399-389CE69610C1}" srcOrd="1" destOrd="0" presId="urn:microsoft.com/office/officeart/2009/3/layout/StepUpProcess"/>
    <dgm:cxn modelId="{9D926B4C-6471-984F-A6E5-24A1107725D9}" type="presParOf" srcId="{9FCE0C74-4222-2743-AFD2-25B42E7AC65E}" destId="{C4F11212-E864-8842-990F-CDDE0BBA038B}" srcOrd="2" destOrd="0" presId="urn:microsoft.com/office/officeart/2009/3/layout/StepUpProcess"/>
    <dgm:cxn modelId="{6BD36BBD-81DA-6A47-8B12-8E177BDFB1B1}" type="presParOf" srcId="{CF47B7DF-B1E3-2B48-812C-2FF94813D610}" destId="{1E114694-625A-D044-9263-3402B83ACED2}" srcOrd="1" destOrd="0" presId="urn:microsoft.com/office/officeart/2009/3/layout/StepUpProcess"/>
    <dgm:cxn modelId="{8E126514-F2E2-AD42-8910-EFA034F79E83}" type="presParOf" srcId="{1E114694-625A-D044-9263-3402B83ACED2}" destId="{E2F7516D-28A4-2F4A-8A78-092CA125D16D}" srcOrd="0" destOrd="0" presId="urn:microsoft.com/office/officeart/2009/3/layout/StepUpProcess"/>
    <dgm:cxn modelId="{B9E11A2C-E09E-AA42-8B3B-82EF57E8B732}" type="presParOf" srcId="{CF47B7DF-B1E3-2B48-812C-2FF94813D610}" destId="{F9901659-C758-2042-92EF-E64EA677B9B5}" srcOrd="2" destOrd="0" presId="urn:microsoft.com/office/officeart/2009/3/layout/StepUpProcess"/>
    <dgm:cxn modelId="{E2A5737B-18F7-8648-BEB5-FF3FEF0FAA10}" type="presParOf" srcId="{F9901659-C758-2042-92EF-E64EA677B9B5}" destId="{45F2A5C8-C6E7-8A45-854D-3C23D4F1F48C}" srcOrd="0" destOrd="0" presId="urn:microsoft.com/office/officeart/2009/3/layout/StepUpProcess"/>
    <dgm:cxn modelId="{577E952A-615F-8448-81B6-A4D384F08CD2}" type="presParOf" srcId="{F9901659-C758-2042-92EF-E64EA677B9B5}" destId="{8C50A9B1-9FF4-4D47-9E4A-D1DD4046BC3E}" srcOrd="1" destOrd="0" presId="urn:microsoft.com/office/officeart/2009/3/layout/StepUpProcess"/>
    <dgm:cxn modelId="{A201B734-DBEF-944B-8A6C-F56390B82B2E}" type="presParOf" srcId="{F9901659-C758-2042-92EF-E64EA677B9B5}" destId="{E228D935-00FF-274A-A16C-3458D11EF9AF}" srcOrd="2" destOrd="0" presId="urn:microsoft.com/office/officeart/2009/3/layout/StepUpProcess"/>
    <dgm:cxn modelId="{B0A1211E-498E-EA4B-8D30-084D71D9C9A5}" type="presParOf" srcId="{CF47B7DF-B1E3-2B48-812C-2FF94813D610}" destId="{42C78158-CEAB-1644-B7F1-F71FF00C6A52}" srcOrd="3" destOrd="0" presId="urn:microsoft.com/office/officeart/2009/3/layout/StepUpProcess"/>
    <dgm:cxn modelId="{05489E9B-F3B3-584F-910F-130365EF276B}" type="presParOf" srcId="{42C78158-CEAB-1644-B7F1-F71FF00C6A52}" destId="{C2A101AC-E767-E143-ABC7-7662088479B1}" srcOrd="0" destOrd="0" presId="urn:microsoft.com/office/officeart/2009/3/layout/StepUpProcess"/>
    <dgm:cxn modelId="{85C18FB9-73AB-714B-9FD9-313AF5A0454C}" type="presParOf" srcId="{CF47B7DF-B1E3-2B48-812C-2FF94813D610}" destId="{3EB7F069-9024-5444-91E8-82BE81AB2C2A}" srcOrd="4" destOrd="0" presId="urn:microsoft.com/office/officeart/2009/3/layout/StepUpProcess"/>
    <dgm:cxn modelId="{F94BF279-5CF7-5940-86F6-B224CA1BA587}" type="presParOf" srcId="{3EB7F069-9024-5444-91E8-82BE81AB2C2A}" destId="{1F167D4C-3C99-BB4E-AC52-AEC7676899F3}" srcOrd="0" destOrd="0" presId="urn:microsoft.com/office/officeart/2009/3/layout/StepUpProcess"/>
    <dgm:cxn modelId="{B3C92834-18A2-B74F-9B1A-03F0D7581A24}" type="presParOf" srcId="{3EB7F069-9024-5444-91E8-82BE81AB2C2A}" destId="{3D25F1C1-E986-DD43-AF1F-37EE62CA42B9}" srcOrd="1" destOrd="0" presId="urn:microsoft.com/office/officeart/2009/3/layout/StepUpProcess"/>
    <dgm:cxn modelId="{CD1FBB38-7393-0A46-B287-B58141483D52}" type="presParOf" srcId="{3EB7F069-9024-5444-91E8-82BE81AB2C2A}" destId="{5AD2758E-F22B-BE40-A2E2-85ED12291388}" srcOrd="2" destOrd="0" presId="urn:microsoft.com/office/officeart/2009/3/layout/StepUpProcess"/>
    <dgm:cxn modelId="{3873FEE5-74C2-8749-8965-CEB0C12F09F3}" type="presParOf" srcId="{CF47B7DF-B1E3-2B48-812C-2FF94813D610}" destId="{0E6146B1-D2D1-A847-B664-9941C4FEDF43}" srcOrd="5" destOrd="0" presId="urn:microsoft.com/office/officeart/2009/3/layout/StepUpProcess"/>
    <dgm:cxn modelId="{F12ACEA8-3E50-4344-B603-A816A63C6A6E}" type="presParOf" srcId="{0E6146B1-D2D1-A847-B664-9941C4FEDF43}" destId="{0E5C4D65-9F2C-A74B-8DD3-12D23D50BFE5}" srcOrd="0" destOrd="0" presId="urn:microsoft.com/office/officeart/2009/3/layout/StepUpProcess"/>
    <dgm:cxn modelId="{C85A6857-1F15-D44E-8DC6-400A9030C730}" type="presParOf" srcId="{CF47B7DF-B1E3-2B48-812C-2FF94813D610}" destId="{9FF38BAB-BFC4-DA44-9621-D778E7A49E26}" srcOrd="6" destOrd="0" presId="urn:microsoft.com/office/officeart/2009/3/layout/StepUpProcess"/>
    <dgm:cxn modelId="{07DFF73D-8CF9-3E4D-9128-91C76696A261}" type="presParOf" srcId="{9FF38BAB-BFC4-DA44-9621-D778E7A49E26}" destId="{53D06CD1-63DF-1041-A40C-DB2174C9704C}" srcOrd="0" destOrd="0" presId="urn:microsoft.com/office/officeart/2009/3/layout/StepUpProcess"/>
    <dgm:cxn modelId="{35E52579-4564-024E-A0C2-7C5571A39F0D}" type="presParOf" srcId="{9FF38BAB-BFC4-DA44-9621-D778E7A49E26}" destId="{2FCCE540-4207-6D47-AB2F-242426606888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F5A35A-E04B-4FD9-A276-3D2EC4DDF28C}">
      <dsp:nvSpPr>
        <dsp:cNvPr id="0" name=""/>
        <dsp:cNvSpPr/>
      </dsp:nvSpPr>
      <dsp:spPr>
        <a:xfrm>
          <a:off x="2806704" y="3023150"/>
          <a:ext cx="2514591" cy="2398186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000" b="1" kern="1200" dirty="0">
            <a:solidFill>
              <a:schemeClr val="tx2">
                <a:lumMod val="50000"/>
              </a:schemeClr>
            </a:solidFill>
            <a:effectLst/>
          </a:endParaRPr>
        </a:p>
      </dsp:txBody>
      <dsp:txXfrm>
        <a:off x="3174957" y="3374356"/>
        <a:ext cx="1778085" cy="1695774"/>
      </dsp:txXfrm>
    </dsp:sp>
    <dsp:sp modelId="{1BB737DA-4055-4E5F-9AD0-C7084D96B1DC}">
      <dsp:nvSpPr>
        <dsp:cNvPr id="0" name=""/>
        <dsp:cNvSpPr/>
      </dsp:nvSpPr>
      <dsp:spPr>
        <a:xfrm rot="12900000">
          <a:off x="1165969" y="2543128"/>
          <a:ext cx="1968717" cy="678294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79E67A8-5953-417C-AC63-33976094BE5F}">
      <dsp:nvSpPr>
        <dsp:cNvPr id="0" name=""/>
        <dsp:cNvSpPr/>
      </dsp:nvSpPr>
      <dsp:spPr>
        <a:xfrm>
          <a:off x="213498" y="1413278"/>
          <a:ext cx="2260981" cy="180878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015" tIns="120015" rIns="120015" bIns="120015" numCol="1" spcCol="1270" anchor="ctr" anchorCtr="0">
          <a:noAutofit/>
        </a:bodyPr>
        <a:lstStyle/>
        <a:p>
          <a:pPr lvl="0" algn="ctr" defTabSz="2800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300" kern="1200" dirty="0"/>
        </a:p>
      </dsp:txBody>
      <dsp:txXfrm>
        <a:off x="266475" y="1466255"/>
        <a:ext cx="2155027" cy="1702830"/>
      </dsp:txXfrm>
    </dsp:sp>
    <dsp:sp modelId="{3CE93D9C-7289-4868-A3C7-5211349D6106}">
      <dsp:nvSpPr>
        <dsp:cNvPr id="0" name=""/>
        <dsp:cNvSpPr/>
      </dsp:nvSpPr>
      <dsp:spPr>
        <a:xfrm rot="16200000">
          <a:off x="3061625" y="1564949"/>
          <a:ext cx="2004748" cy="678294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-4966938"/>
                <a:satOff val="19906"/>
                <a:lumOff val="4314"/>
                <a:alphaOff val="0"/>
                <a:shade val="51000"/>
                <a:satMod val="130000"/>
              </a:schemeClr>
            </a:gs>
            <a:gs pos="80000">
              <a:schemeClr val="accent5">
                <a:hueOff val="-4966938"/>
                <a:satOff val="19906"/>
                <a:lumOff val="4314"/>
                <a:alphaOff val="0"/>
                <a:shade val="93000"/>
                <a:satMod val="130000"/>
              </a:schemeClr>
            </a:gs>
            <a:gs pos="100000">
              <a:schemeClr val="accent5">
                <a:hueOff val="-4966938"/>
                <a:satOff val="19906"/>
                <a:lumOff val="431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85CB78-988B-4C29-9645-7FC940F6DAA0}">
      <dsp:nvSpPr>
        <dsp:cNvPr id="0" name=""/>
        <dsp:cNvSpPr/>
      </dsp:nvSpPr>
      <dsp:spPr>
        <a:xfrm>
          <a:off x="2933509" y="-2669"/>
          <a:ext cx="2260981" cy="180878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-4966938"/>
                <a:satOff val="19906"/>
                <a:lumOff val="4314"/>
                <a:alphaOff val="0"/>
                <a:shade val="51000"/>
                <a:satMod val="130000"/>
              </a:schemeClr>
            </a:gs>
            <a:gs pos="80000">
              <a:schemeClr val="accent5">
                <a:hueOff val="-4966938"/>
                <a:satOff val="19906"/>
                <a:lumOff val="4314"/>
                <a:alphaOff val="0"/>
                <a:shade val="93000"/>
                <a:satMod val="130000"/>
              </a:schemeClr>
            </a:gs>
            <a:gs pos="100000">
              <a:schemeClr val="accent5">
                <a:hueOff val="-4966938"/>
                <a:satOff val="19906"/>
                <a:lumOff val="431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015" tIns="120015" rIns="120015" bIns="120015" numCol="1" spcCol="1270" anchor="ctr" anchorCtr="0">
          <a:noAutofit/>
        </a:bodyPr>
        <a:lstStyle/>
        <a:p>
          <a:pPr lvl="0" algn="ctr" defTabSz="2800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300" kern="1200" dirty="0"/>
        </a:p>
      </dsp:txBody>
      <dsp:txXfrm>
        <a:off x="2986486" y="50308"/>
        <a:ext cx="2155027" cy="1702830"/>
      </dsp:txXfrm>
    </dsp:sp>
    <dsp:sp modelId="{4FB8596D-5110-4A5A-A2CC-18B2B907C514}">
      <dsp:nvSpPr>
        <dsp:cNvPr id="0" name=""/>
        <dsp:cNvSpPr/>
      </dsp:nvSpPr>
      <dsp:spPr>
        <a:xfrm rot="19500000">
          <a:off x="4993313" y="2543128"/>
          <a:ext cx="1968717" cy="678294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shade val="51000"/>
                <a:satMod val="130000"/>
              </a:schemeClr>
            </a:gs>
            <a:gs pos="80000">
              <a:schemeClr val="accent5">
                <a:hueOff val="-9933876"/>
                <a:satOff val="39811"/>
                <a:lumOff val="8628"/>
                <a:alphaOff val="0"/>
                <a:shade val="93000"/>
                <a:satMod val="13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6ACC0D8-1E66-4F35-B02B-1BD323334156}">
      <dsp:nvSpPr>
        <dsp:cNvPr id="0" name=""/>
        <dsp:cNvSpPr/>
      </dsp:nvSpPr>
      <dsp:spPr>
        <a:xfrm>
          <a:off x="5653520" y="1413278"/>
          <a:ext cx="2260981" cy="180878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shade val="51000"/>
                <a:satMod val="130000"/>
              </a:schemeClr>
            </a:gs>
            <a:gs pos="80000">
              <a:schemeClr val="accent5">
                <a:hueOff val="-9933876"/>
                <a:satOff val="39811"/>
                <a:lumOff val="8628"/>
                <a:alphaOff val="0"/>
                <a:shade val="93000"/>
                <a:satMod val="13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015" tIns="120015" rIns="120015" bIns="120015" numCol="1" spcCol="1270" anchor="ctr" anchorCtr="0">
          <a:noAutofit/>
        </a:bodyPr>
        <a:lstStyle/>
        <a:p>
          <a:pPr lvl="0" algn="ctr" defTabSz="2800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300" kern="1200" dirty="0"/>
        </a:p>
      </dsp:txBody>
      <dsp:txXfrm>
        <a:off x="5706497" y="1466255"/>
        <a:ext cx="2155027" cy="17028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61CB5A-3C87-424F-95BC-B2649492292A}">
      <dsp:nvSpPr>
        <dsp:cNvPr id="0" name=""/>
        <dsp:cNvSpPr/>
      </dsp:nvSpPr>
      <dsp:spPr>
        <a:xfrm rot="5400000">
          <a:off x="416430" y="2507316"/>
          <a:ext cx="1240608" cy="2064343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3EB1641-5479-4499-981F-25FD70061C63}">
      <dsp:nvSpPr>
        <dsp:cNvPr id="0" name=""/>
        <dsp:cNvSpPr/>
      </dsp:nvSpPr>
      <dsp:spPr>
        <a:xfrm>
          <a:off x="209341" y="3124110"/>
          <a:ext cx="1863701" cy="16336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/>
            <a:t>HUST</a:t>
          </a:r>
          <a:br>
            <a:rPr lang="en-US" sz="1800" b="1" kern="1200" dirty="0"/>
          </a:br>
          <a:r>
            <a:rPr lang="en-US" sz="1800" b="1" kern="1200" dirty="0"/>
            <a:t>(2012)</a:t>
          </a:r>
        </a:p>
      </dsp:txBody>
      <dsp:txXfrm>
        <a:off x="209341" y="3124110"/>
        <a:ext cx="1863701" cy="1633643"/>
      </dsp:txXfrm>
    </dsp:sp>
    <dsp:sp modelId="{A4F04A44-709A-46C3-A00B-818D3C89D550}">
      <dsp:nvSpPr>
        <dsp:cNvPr id="0" name=""/>
        <dsp:cNvSpPr/>
      </dsp:nvSpPr>
      <dsp:spPr>
        <a:xfrm>
          <a:off x="1721401" y="2355337"/>
          <a:ext cx="351641" cy="351641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5">
                <a:hueOff val="-1241735"/>
                <a:satOff val="4976"/>
                <a:lumOff val="1078"/>
                <a:alphaOff val="0"/>
                <a:tint val="50000"/>
                <a:satMod val="300000"/>
              </a:schemeClr>
            </a:gs>
            <a:gs pos="35000">
              <a:schemeClr val="accent5">
                <a:hueOff val="-1241735"/>
                <a:satOff val="4976"/>
                <a:lumOff val="1078"/>
                <a:alphaOff val="0"/>
                <a:tint val="37000"/>
                <a:satMod val="300000"/>
              </a:schemeClr>
            </a:gs>
            <a:gs pos="100000">
              <a:schemeClr val="accent5">
                <a:hueOff val="-1241735"/>
                <a:satOff val="4976"/>
                <a:lumOff val="1078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1241735"/>
              <a:satOff val="4976"/>
              <a:lumOff val="1078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D0A3EE55-F277-4CA4-B19A-55DA240A6A22}">
      <dsp:nvSpPr>
        <dsp:cNvPr id="0" name=""/>
        <dsp:cNvSpPr/>
      </dsp:nvSpPr>
      <dsp:spPr>
        <a:xfrm rot="5400000">
          <a:off x="2697964" y="1942748"/>
          <a:ext cx="1240608" cy="2064343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5">
                <a:hueOff val="-2483469"/>
                <a:satOff val="9953"/>
                <a:lumOff val="2157"/>
                <a:alphaOff val="0"/>
                <a:tint val="50000"/>
                <a:satMod val="300000"/>
              </a:schemeClr>
            </a:gs>
            <a:gs pos="35000">
              <a:schemeClr val="accent5">
                <a:hueOff val="-2483469"/>
                <a:satOff val="9953"/>
                <a:lumOff val="2157"/>
                <a:alphaOff val="0"/>
                <a:tint val="37000"/>
                <a:satMod val="300000"/>
              </a:schemeClr>
            </a:gs>
            <a:gs pos="100000">
              <a:schemeClr val="accent5">
                <a:hueOff val="-2483469"/>
                <a:satOff val="9953"/>
                <a:lumOff val="2157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2483469"/>
              <a:satOff val="9953"/>
              <a:lumOff val="2157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2D510F1-0B8B-4132-9AC6-526806230911}">
      <dsp:nvSpPr>
        <dsp:cNvPr id="0" name=""/>
        <dsp:cNvSpPr/>
      </dsp:nvSpPr>
      <dsp:spPr>
        <a:xfrm>
          <a:off x="2490876" y="2559542"/>
          <a:ext cx="1863701" cy="16336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/>
            <a:t>PTIT</a:t>
          </a:r>
          <a:br>
            <a:rPr lang="en-US" sz="1800" b="1" kern="1200" dirty="0"/>
          </a:br>
          <a:r>
            <a:rPr lang="en-US" sz="1800" b="1" kern="1200" dirty="0"/>
            <a:t>VNU</a:t>
          </a:r>
          <a:br>
            <a:rPr lang="en-US" sz="1800" b="1" kern="1200" dirty="0"/>
          </a:br>
          <a:r>
            <a:rPr lang="en-US" sz="1800" b="1" kern="1200" dirty="0"/>
            <a:t>(2014)</a:t>
          </a:r>
        </a:p>
      </dsp:txBody>
      <dsp:txXfrm>
        <a:off x="2490876" y="2559542"/>
        <a:ext cx="1863701" cy="1633643"/>
      </dsp:txXfrm>
    </dsp:sp>
    <dsp:sp modelId="{0060B3B8-4466-48D6-8F9C-1F79FE0B98C4}">
      <dsp:nvSpPr>
        <dsp:cNvPr id="0" name=""/>
        <dsp:cNvSpPr/>
      </dsp:nvSpPr>
      <dsp:spPr>
        <a:xfrm>
          <a:off x="4002935" y="1790769"/>
          <a:ext cx="351641" cy="351641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5">
                <a:hueOff val="-3725204"/>
                <a:satOff val="14929"/>
                <a:lumOff val="3235"/>
                <a:alphaOff val="0"/>
                <a:tint val="50000"/>
                <a:satMod val="300000"/>
              </a:schemeClr>
            </a:gs>
            <a:gs pos="35000">
              <a:schemeClr val="accent5">
                <a:hueOff val="-3725204"/>
                <a:satOff val="14929"/>
                <a:lumOff val="3235"/>
                <a:alphaOff val="0"/>
                <a:tint val="37000"/>
                <a:satMod val="300000"/>
              </a:schemeClr>
            </a:gs>
            <a:gs pos="100000">
              <a:schemeClr val="accent5">
                <a:hueOff val="-3725204"/>
                <a:satOff val="14929"/>
                <a:lumOff val="3235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3725204"/>
              <a:satOff val="14929"/>
              <a:lumOff val="3235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2F772CC0-50FD-418F-9424-0713EDBF1B4A}">
      <dsp:nvSpPr>
        <dsp:cNvPr id="0" name=""/>
        <dsp:cNvSpPr/>
      </dsp:nvSpPr>
      <dsp:spPr>
        <a:xfrm rot="5400000">
          <a:off x="4979498" y="1378180"/>
          <a:ext cx="1240608" cy="2064343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5">
                <a:hueOff val="-4966938"/>
                <a:satOff val="19906"/>
                <a:lumOff val="4314"/>
                <a:alphaOff val="0"/>
                <a:tint val="50000"/>
                <a:satMod val="300000"/>
              </a:schemeClr>
            </a:gs>
            <a:gs pos="35000">
              <a:schemeClr val="accent5">
                <a:hueOff val="-4966938"/>
                <a:satOff val="19906"/>
                <a:lumOff val="4314"/>
                <a:alphaOff val="0"/>
                <a:tint val="37000"/>
                <a:satMod val="300000"/>
              </a:schemeClr>
            </a:gs>
            <a:gs pos="100000">
              <a:schemeClr val="accent5">
                <a:hueOff val="-4966938"/>
                <a:satOff val="19906"/>
                <a:lumOff val="4314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4966938"/>
              <a:satOff val="19906"/>
              <a:lumOff val="4314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BD7EE72-2421-476E-A4C4-9F026F6ADFEB}">
      <dsp:nvSpPr>
        <dsp:cNvPr id="0" name=""/>
        <dsp:cNvSpPr/>
      </dsp:nvSpPr>
      <dsp:spPr>
        <a:xfrm>
          <a:off x="4772410" y="1994974"/>
          <a:ext cx="1863701" cy="16336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/>
            <a:t>UTC</a:t>
          </a:r>
          <a:br>
            <a:rPr lang="en-US" sz="1800" b="1" kern="1200" dirty="0"/>
          </a:br>
          <a:r>
            <a:rPr lang="en-US" sz="1800" b="1" kern="1200" dirty="0" err="1"/>
            <a:t>HaUI</a:t>
          </a:r>
          <a:r>
            <a:rPr lang="en-US" sz="1800" b="1" kern="1200" dirty="0"/>
            <a:t/>
          </a:r>
          <a:br>
            <a:rPr lang="en-US" sz="1800" b="1" kern="1200" dirty="0"/>
          </a:br>
          <a:r>
            <a:rPr lang="en-US" sz="1800" b="1" kern="1200" dirty="0"/>
            <a:t>ICTU</a:t>
          </a:r>
          <a:br>
            <a:rPr lang="en-US" sz="1800" b="1" kern="1200" dirty="0"/>
          </a:br>
          <a:r>
            <a:rPr lang="en-US" sz="1800" b="1" kern="1200" dirty="0"/>
            <a:t>(2015)</a:t>
          </a:r>
        </a:p>
      </dsp:txBody>
      <dsp:txXfrm>
        <a:off x="4772410" y="1994974"/>
        <a:ext cx="1863701" cy="1633643"/>
      </dsp:txXfrm>
    </dsp:sp>
    <dsp:sp modelId="{31EA9695-B393-44D1-97C2-546BBDBD6233}">
      <dsp:nvSpPr>
        <dsp:cNvPr id="0" name=""/>
        <dsp:cNvSpPr/>
      </dsp:nvSpPr>
      <dsp:spPr>
        <a:xfrm>
          <a:off x="6284470" y="1226201"/>
          <a:ext cx="351641" cy="351641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5">
                <a:hueOff val="-6208672"/>
                <a:satOff val="24882"/>
                <a:lumOff val="5392"/>
                <a:alphaOff val="0"/>
                <a:tint val="50000"/>
                <a:satMod val="300000"/>
              </a:schemeClr>
            </a:gs>
            <a:gs pos="35000">
              <a:schemeClr val="accent5">
                <a:hueOff val="-6208672"/>
                <a:satOff val="24882"/>
                <a:lumOff val="5392"/>
                <a:alphaOff val="0"/>
                <a:tint val="37000"/>
                <a:satMod val="300000"/>
              </a:schemeClr>
            </a:gs>
            <a:gs pos="100000">
              <a:schemeClr val="accent5">
                <a:hueOff val="-6208672"/>
                <a:satOff val="24882"/>
                <a:lumOff val="5392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6208672"/>
              <a:satOff val="24882"/>
              <a:lumOff val="5392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4C8FC46-30AB-4AD8-BB84-AC88FE492B3B}">
      <dsp:nvSpPr>
        <dsp:cNvPr id="0" name=""/>
        <dsp:cNvSpPr/>
      </dsp:nvSpPr>
      <dsp:spPr>
        <a:xfrm rot="5400000">
          <a:off x="7261033" y="813612"/>
          <a:ext cx="1240608" cy="2064343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5">
                <a:hueOff val="-7450407"/>
                <a:satOff val="29858"/>
                <a:lumOff val="6471"/>
                <a:alphaOff val="0"/>
                <a:tint val="50000"/>
                <a:satMod val="300000"/>
              </a:schemeClr>
            </a:gs>
            <a:gs pos="35000">
              <a:schemeClr val="accent5">
                <a:hueOff val="-7450407"/>
                <a:satOff val="29858"/>
                <a:lumOff val="6471"/>
                <a:alphaOff val="0"/>
                <a:tint val="37000"/>
                <a:satMod val="300000"/>
              </a:schemeClr>
            </a:gs>
            <a:gs pos="100000">
              <a:schemeClr val="accent5">
                <a:hueOff val="-7450407"/>
                <a:satOff val="29858"/>
                <a:lumOff val="6471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7450407"/>
              <a:satOff val="29858"/>
              <a:lumOff val="6471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9C2053D-99E0-4F71-B263-C2BEDEFD3BAC}">
      <dsp:nvSpPr>
        <dsp:cNvPr id="0" name=""/>
        <dsp:cNvSpPr/>
      </dsp:nvSpPr>
      <dsp:spPr>
        <a:xfrm>
          <a:off x="7053945" y="1430406"/>
          <a:ext cx="1863701" cy="16336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/>
            <a:t>MTA</a:t>
          </a:r>
          <a:br>
            <a:rPr lang="en-US" sz="1800" b="1" kern="1200" dirty="0"/>
          </a:br>
          <a:r>
            <a:rPr lang="en-US" sz="1800" b="1" kern="1200" dirty="0"/>
            <a:t>ACTVN</a:t>
          </a:r>
          <a:br>
            <a:rPr lang="en-US" sz="1800" b="1" kern="1200" dirty="0"/>
          </a:br>
          <a:r>
            <a:rPr lang="en-US" sz="1800" b="1" kern="1200" dirty="0"/>
            <a:t>(2016)</a:t>
          </a:r>
        </a:p>
      </dsp:txBody>
      <dsp:txXfrm>
        <a:off x="7053945" y="1430406"/>
        <a:ext cx="1863701" cy="1633643"/>
      </dsp:txXfrm>
    </dsp:sp>
    <dsp:sp modelId="{A053CEC6-8E8F-4CE4-8370-152B5D79958A}">
      <dsp:nvSpPr>
        <dsp:cNvPr id="0" name=""/>
        <dsp:cNvSpPr/>
      </dsp:nvSpPr>
      <dsp:spPr>
        <a:xfrm>
          <a:off x="8566004" y="661633"/>
          <a:ext cx="351641" cy="351641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5">
                <a:hueOff val="-8692142"/>
                <a:satOff val="34835"/>
                <a:lumOff val="7549"/>
                <a:alphaOff val="0"/>
                <a:tint val="50000"/>
                <a:satMod val="300000"/>
              </a:schemeClr>
            </a:gs>
            <a:gs pos="35000">
              <a:schemeClr val="accent5">
                <a:hueOff val="-8692142"/>
                <a:satOff val="34835"/>
                <a:lumOff val="7549"/>
                <a:alphaOff val="0"/>
                <a:tint val="37000"/>
                <a:satMod val="300000"/>
              </a:schemeClr>
            </a:gs>
            <a:gs pos="100000">
              <a:schemeClr val="accent5">
                <a:hueOff val="-8692142"/>
                <a:satOff val="34835"/>
                <a:lumOff val="7549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8692142"/>
              <a:satOff val="34835"/>
              <a:lumOff val="7549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001070AD-D680-4BFF-B815-8FECB70427B0}">
      <dsp:nvSpPr>
        <dsp:cNvPr id="0" name=""/>
        <dsp:cNvSpPr/>
      </dsp:nvSpPr>
      <dsp:spPr>
        <a:xfrm rot="5400000">
          <a:off x="9542567" y="249044"/>
          <a:ext cx="1240608" cy="2064343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tint val="50000"/>
                <a:satMod val="300000"/>
              </a:schemeClr>
            </a:gs>
            <a:gs pos="35000">
              <a:schemeClr val="accent5">
                <a:hueOff val="-9933876"/>
                <a:satOff val="39811"/>
                <a:lumOff val="8628"/>
                <a:alphaOff val="0"/>
                <a:tint val="37000"/>
                <a:satMod val="30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4BEC8F91-8405-4701-8A01-6DF438619E23}">
      <dsp:nvSpPr>
        <dsp:cNvPr id="0" name=""/>
        <dsp:cNvSpPr/>
      </dsp:nvSpPr>
      <dsp:spPr>
        <a:xfrm>
          <a:off x="9335479" y="865838"/>
          <a:ext cx="1863701" cy="16336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/>
            <a:t>TLU</a:t>
          </a:r>
          <a:br>
            <a:rPr lang="en-US" sz="1800" b="1" kern="1200" dirty="0"/>
          </a:br>
          <a:r>
            <a:rPr lang="en-US" sz="1800" b="1" kern="1200" dirty="0"/>
            <a:t>(2017)</a:t>
          </a:r>
        </a:p>
      </dsp:txBody>
      <dsp:txXfrm>
        <a:off x="9335479" y="865838"/>
        <a:ext cx="1863701" cy="16336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0F160F-B0E2-CE4D-8EEF-7F361C516B52}">
      <dsp:nvSpPr>
        <dsp:cNvPr id="0" name=""/>
        <dsp:cNvSpPr/>
      </dsp:nvSpPr>
      <dsp:spPr>
        <a:xfrm>
          <a:off x="2366099" y="0"/>
          <a:ext cx="2411790" cy="1323245"/>
        </a:xfrm>
        <a:prstGeom prst="rightArrow">
          <a:avLst>
            <a:gd name="adj1" fmla="val 70000"/>
            <a:gd name="adj2" fmla="val 50000"/>
          </a:avLst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0640" tIns="10160" rIns="20320" bIns="10160" numCol="1" spcCol="1270" anchor="ctr" anchorCtr="0">
          <a:noAutofit/>
        </a:bodyPr>
        <a:lstStyle/>
        <a:p>
          <a:pPr marL="11113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tabLst/>
          </a:pPr>
          <a:r>
            <a:rPr lang="en-US" sz="1600" b="1" kern="1200" dirty="0"/>
            <a:t>2012 ~ 2015</a:t>
          </a:r>
        </a:p>
      </dsp:txBody>
      <dsp:txXfrm>
        <a:off x="2969046" y="198487"/>
        <a:ext cx="1345707" cy="926271"/>
      </dsp:txXfrm>
    </dsp:sp>
    <dsp:sp modelId="{574AE063-6E5E-174F-A03F-54AAA41CF164}">
      <dsp:nvSpPr>
        <dsp:cNvPr id="0" name=""/>
        <dsp:cNvSpPr/>
      </dsp:nvSpPr>
      <dsp:spPr>
        <a:xfrm>
          <a:off x="1989845" y="265924"/>
          <a:ext cx="756896" cy="756896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/>
            <a:t>6 </a:t>
          </a:r>
          <a:endParaRPr lang="en-US" sz="1400" b="1" kern="1200" dirty="0" smtClean="0"/>
        </a:p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 err="1" smtClean="0"/>
            <a:t>dự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án</a:t>
          </a:r>
          <a:endParaRPr lang="en-US" sz="1400" b="1" kern="1200" dirty="0"/>
        </a:p>
      </dsp:txBody>
      <dsp:txXfrm>
        <a:off x="2100690" y="376769"/>
        <a:ext cx="535206" cy="535206"/>
      </dsp:txXfrm>
    </dsp:sp>
    <dsp:sp modelId="{82F879E6-4BC6-CA42-AA4D-34C59CC1AB89}">
      <dsp:nvSpPr>
        <dsp:cNvPr id="0" name=""/>
        <dsp:cNvSpPr/>
      </dsp:nvSpPr>
      <dsp:spPr>
        <a:xfrm>
          <a:off x="5283194" y="0"/>
          <a:ext cx="2479714" cy="1323245"/>
        </a:xfrm>
        <a:prstGeom prst="rightArrow">
          <a:avLst>
            <a:gd name="adj1" fmla="val 70000"/>
            <a:gd name="adj2" fmla="val 50000"/>
          </a:avLst>
        </a:prstGeom>
        <a:solidFill>
          <a:schemeClr val="accent5">
            <a:tint val="40000"/>
            <a:alpha val="90000"/>
            <a:hueOff val="-5370241"/>
            <a:satOff val="24126"/>
            <a:lumOff val="1658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-5370241"/>
              <a:satOff val="24126"/>
              <a:lumOff val="165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0640" tIns="10160" rIns="2032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2014 ~ 2017</a:t>
          </a:r>
        </a:p>
      </dsp:txBody>
      <dsp:txXfrm>
        <a:off x="5903123" y="198487"/>
        <a:ext cx="1396650" cy="926271"/>
      </dsp:txXfrm>
    </dsp:sp>
    <dsp:sp modelId="{E32148F5-368C-D74F-AED7-A501E22BC7CB}">
      <dsp:nvSpPr>
        <dsp:cNvPr id="0" name=""/>
        <dsp:cNvSpPr/>
      </dsp:nvSpPr>
      <dsp:spPr>
        <a:xfrm>
          <a:off x="4930003" y="273857"/>
          <a:ext cx="756896" cy="756896"/>
        </a:xfrm>
        <a:prstGeom prst="ellipse">
          <a:avLst/>
        </a:prstGeom>
        <a:gradFill rotWithShape="0">
          <a:gsLst>
            <a:gs pos="0">
              <a:schemeClr val="accent5">
                <a:hueOff val="-4966938"/>
                <a:satOff val="19906"/>
                <a:lumOff val="4314"/>
                <a:alphaOff val="0"/>
                <a:shade val="51000"/>
                <a:satMod val="130000"/>
              </a:schemeClr>
            </a:gs>
            <a:gs pos="80000">
              <a:schemeClr val="accent5">
                <a:hueOff val="-4966938"/>
                <a:satOff val="19906"/>
                <a:lumOff val="4314"/>
                <a:alphaOff val="0"/>
                <a:shade val="93000"/>
                <a:satMod val="130000"/>
              </a:schemeClr>
            </a:gs>
            <a:gs pos="100000">
              <a:schemeClr val="accent5">
                <a:hueOff val="-4966938"/>
                <a:satOff val="19906"/>
                <a:lumOff val="431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/>
            <a:t>3 </a:t>
          </a:r>
          <a:br>
            <a:rPr lang="en-US" sz="1400" b="1" kern="1200" dirty="0"/>
          </a:br>
          <a:r>
            <a:rPr lang="en-US" sz="1400" b="1" kern="1200" dirty="0" err="1" smtClean="0"/>
            <a:t>dự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án</a:t>
          </a:r>
          <a:endParaRPr lang="en-US" sz="1400" b="1" kern="1200" dirty="0"/>
        </a:p>
      </dsp:txBody>
      <dsp:txXfrm>
        <a:off x="5040848" y="384702"/>
        <a:ext cx="535206" cy="535206"/>
      </dsp:txXfrm>
    </dsp:sp>
    <dsp:sp modelId="{617B6776-1E0B-6B48-A000-6C3C97AC9FCF}">
      <dsp:nvSpPr>
        <dsp:cNvPr id="0" name=""/>
        <dsp:cNvSpPr/>
      </dsp:nvSpPr>
      <dsp:spPr>
        <a:xfrm>
          <a:off x="8285009" y="0"/>
          <a:ext cx="2237250" cy="1323245"/>
        </a:xfrm>
        <a:prstGeom prst="rightArrow">
          <a:avLst>
            <a:gd name="adj1" fmla="val 70000"/>
            <a:gd name="adj2" fmla="val 50000"/>
          </a:avLst>
        </a:prstGeom>
        <a:solidFill>
          <a:schemeClr val="accent5">
            <a:tint val="40000"/>
            <a:alpha val="90000"/>
            <a:hueOff val="-10740482"/>
            <a:satOff val="48253"/>
            <a:lumOff val="3317"/>
            <a:alphaOff val="0"/>
          </a:schemeClr>
        </a:solidFill>
        <a:ln w="9525" cap="flat" cmpd="sng" algn="ctr">
          <a:solidFill>
            <a:schemeClr val="accent5">
              <a:tint val="40000"/>
              <a:alpha val="90000"/>
              <a:hueOff val="-10740482"/>
              <a:satOff val="48253"/>
              <a:lumOff val="3317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40640" tIns="10160" rIns="2032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2016 ~ nay</a:t>
          </a:r>
        </a:p>
      </dsp:txBody>
      <dsp:txXfrm>
        <a:off x="8844322" y="198487"/>
        <a:ext cx="1214801" cy="926271"/>
      </dsp:txXfrm>
    </dsp:sp>
    <dsp:sp modelId="{712F857B-6A82-3F46-A6FE-7979AA087EC6}">
      <dsp:nvSpPr>
        <dsp:cNvPr id="0" name=""/>
        <dsp:cNvSpPr/>
      </dsp:nvSpPr>
      <dsp:spPr>
        <a:xfrm>
          <a:off x="7919973" y="281842"/>
          <a:ext cx="756896" cy="756896"/>
        </a:xfrm>
        <a:prstGeom prst="ellipse">
          <a:avLst/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shade val="51000"/>
                <a:satMod val="130000"/>
              </a:schemeClr>
            </a:gs>
            <a:gs pos="80000">
              <a:schemeClr val="accent5">
                <a:hueOff val="-9933876"/>
                <a:satOff val="39811"/>
                <a:lumOff val="8628"/>
                <a:alphaOff val="0"/>
                <a:shade val="93000"/>
                <a:satMod val="13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/>
            <a:t>2 </a:t>
          </a:r>
          <a:r>
            <a:rPr lang="en-US" sz="1400" b="1" kern="1200" dirty="0" smtClean="0"/>
            <a:t/>
          </a:r>
          <a:br>
            <a:rPr lang="en-US" sz="1400" b="1" kern="1200" dirty="0" smtClean="0"/>
          </a:br>
          <a:r>
            <a:rPr lang="en-US" sz="1400" b="1" kern="1200" dirty="0" err="1" smtClean="0"/>
            <a:t>dự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án</a:t>
          </a:r>
          <a:endParaRPr lang="en-US" sz="1400" b="1" kern="1200" dirty="0"/>
        </a:p>
      </dsp:txBody>
      <dsp:txXfrm>
        <a:off x="8030818" y="392687"/>
        <a:ext cx="535206" cy="53520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C7F12C-9EA5-2447-BD7E-7B211741F7CA}">
      <dsp:nvSpPr>
        <dsp:cNvPr id="0" name=""/>
        <dsp:cNvSpPr/>
      </dsp:nvSpPr>
      <dsp:spPr>
        <a:xfrm rot="5400000">
          <a:off x="246952" y="1479815"/>
          <a:ext cx="740376" cy="123197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6EBD1EA-247E-484C-8399-389CE69610C1}">
      <dsp:nvSpPr>
        <dsp:cNvPr id="0" name=""/>
        <dsp:cNvSpPr/>
      </dsp:nvSpPr>
      <dsp:spPr>
        <a:xfrm>
          <a:off x="123364" y="1847909"/>
          <a:ext cx="1112229" cy="974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1104"/>
            </a:spcAft>
          </a:pPr>
          <a:r>
            <a:rPr lang="en-US" sz="1200" kern="1200" dirty="0" err="1"/>
            <a:t>Phát</a:t>
          </a:r>
          <a:r>
            <a:rPr lang="en-US" sz="1200" kern="1200" dirty="0"/>
            <a:t> </a:t>
          </a:r>
          <a:r>
            <a:rPr lang="en-US" sz="1200" kern="1200" dirty="0" err="1"/>
            <a:t>triển</a:t>
          </a:r>
          <a:r>
            <a:rPr lang="en-US" sz="1200" kern="1200" dirty="0"/>
            <a:t> S/W </a:t>
          </a:r>
          <a:r>
            <a:rPr lang="en-US" sz="1200" kern="1200" dirty="0" err="1"/>
            <a:t>phái</a:t>
          </a:r>
          <a:r>
            <a:rPr lang="en-US" sz="1200" kern="1200" dirty="0"/>
            <a:t> </a:t>
          </a:r>
          <a:r>
            <a:rPr lang="en-US" sz="1200" kern="1200" dirty="0" err="1"/>
            <a:t>sinh</a:t>
          </a:r>
          <a:r>
            <a:rPr lang="en-US" sz="1200" kern="1200" dirty="0"/>
            <a:t>,</a:t>
          </a: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1104"/>
            </a:spcAft>
          </a:pPr>
          <a:r>
            <a:rPr lang="en-US" sz="1200" kern="1200" dirty="0" err="1"/>
            <a:t>Ngôn</a:t>
          </a:r>
          <a:r>
            <a:rPr lang="en-US" sz="1200" kern="1200" dirty="0"/>
            <a:t> </a:t>
          </a:r>
          <a:r>
            <a:rPr lang="en-US" sz="1200" kern="1200" dirty="0" err="1"/>
            <a:t>ngữ</a:t>
          </a:r>
          <a:r>
            <a:rPr lang="en-US" sz="1200" kern="1200" dirty="0"/>
            <a:t> </a:t>
          </a:r>
          <a:r>
            <a:rPr lang="en-US" sz="1200" kern="1200" dirty="0" err="1"/>
            <a:t>khu</a:t>
          </a:r>
          <a:r>
            <a:rPr lang="en-US" sz="1200" kern="1200" dirty="0"/>
            <a:t> </a:t>
          </a:r>
          <a:r>
            <a:rPr lang="en-US" sz="1200" kern="1200" dirty="0" err="1"/>
            <a:t>vực</a:t>
          </a:r>
          <a:r>
            <a:rPr lang="en-US" sz="1200" kern="1200" dirty="0"/>
            <a:t>, Network..</a:t>
          </a:r>
        </a:p>
      </dsp:txBody>
      <dsp:txXfrm>
        <a:off x="123364" y="1847909"/>
        <a:ext cx="1112229" cy="974934"/>
      </dsp:txXfrm>
    </dsp:sp>
    <dsp:sp modelId="{C4F11212-E864-8842-990F-CDDE0BBA038B}">
      <dsp:nvSpPr>
        <dsp:cNvPr id="0" name=""/>
        <dsp:cNvSpPr/>
      </dsp:nvSpPr>
      <dsp:spPr>
        <a:xfrm>
          <a:off x="1025739" y="1389116"/>
          <a:ext cx="209854" cy="2098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5">
                <a:hueOff val="-1674323"/>
                <a:satOff val="9000"/>
                <a:lumOff val="1797"/>
                <a:alphaOff val="0"/>
                <a:tint val="50000"/>
                <a:satMod val="300000"/>
              </a:schemeClr>
            </a:gs>
            <a:gs pos="35000">
              <a:schemeClr val="accent5">
                <a:hueOff val="-1674323"/>
                <a:satOff val="9000"/>
                <a:lumOff val="1797"/>
                <a:alphaOff val="0"/>
                <a:tint val="37000"/>
                <a:satMod val="300000"/>
              </a:schemeClr>
            </a:gs>
            <a:gs pos="100000">
              <a:schemeClr val="accent5">
                <a:hueOff val="-1674323"/>
                <a:satOff val="9000"/>
                <a:lumOff val="1797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1674323"/>
              <a:satOff val="9000"/>
              <a:lumOff val="1797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45F2A5C8-C6E7-8A45-854D-3C23D4F1F48C}">
      <dsp:nvSpPr>
        <dsp:cNvPr id="0" name=""/>
        <dsp:cNvSpPr/>
      </dsp:nvSpPr>
      <dsp:spPr>
        <a:xfrm rot="5400000">
          <a:off x="1608538" y="1142889"/>
          <a:ext cx="740376" cy="123197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5">
                <a:hueOff val="-3348646"/>
                <a:satOff val="18000"/>
                <a:lumOff val="3595"/>
                <a:alphaOff val="0"/>
                <a:tint val="50000"/>
                <a:satMod val="300000"/>
              </a:schemeClr>
            </a:gs>
            <a:gs pos="35000">
              <a:schemeClr val="accent5">
                <a:hueOff val="-3348646"/>
                <a:satOff val="18000"/>
                <a:lumOff val="3595"/>
                <a:alphaOff val="0"/>
                <a:tint val="37000"/>
                <a:satMod val="300000"/>
              </a:schemeClr>
            </a:gs>
            <a:gs pos="100000">
              <a:schemeClr val="accent5">
                <a:hueOff val="-3348646"/>
                <a:satOff val="18000"/>
                <a:lumOff val="3595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3348646"/>
              <a:satOff val="18000"/>
              <a:lumOff val="3595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8C50A9B1-9FF4-4D47-9E4A-D1DD4046BC3E}">
      <dsp:nvSpPr>
        <dsp:cNvPr id="0" name=""/>
        <dsp:cNvSpPr/>
      </dsp:nvSpPr>
      <dsp:spPr>
        <a:xfrm>
          <a:off x="1484950" y="1510983"/>
          <a:ext cx="1112229" cy="974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104"/>
            </a:spcAft>
          </a:pPr>
          <a:r>
            <a:rPr lang="en-US" sz="1200" kern="1200" dirty="0"/>
            <a:t>- Android OS Upgrade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104"/>
            </a:spcAft>
          </a:pPr>
          <a:r>
            <a:rPr lang="en-US" sz="1200" kern="1200" dirty="0"/>
            <a:t>- </a:t>
          </a:r>
          <a:r>
            <a:rPr lang="en-US" sz="1200" kern="1200" dirty="0" err="1"/>
            <a:t>Phát</a:t>
          </a:r>
          <a:r>
            <a:rPr lang="en-US" sz="1200" kern="1200" dirty="0"/>
            <a:t> </a:t>
          </a:r>
          <a:r>
            <a:rPr lang="en-US" sz="1200" kern="1200" dirty="0" err="1"/>
            <a:t>triển</a:t>
          </a:r>
          <a:r>
            <a:rPr lang="en-US" sz="1200" kern="1200" dirty="0"/>
            <a:t> Base S/W</a:t>
          </a:r>
        </a:p>
      </dsp:txBody>
      <dsp:txXfrm>
        <a:off x="1484950" y="1510983"/>
        <a:ext cx="1112229" cy="974934"/>
      </dsp:txXfrm>
    </dsp:sp>
    <dsp:sp modelId="{E228D935-00FF-274A-A16C-3458D11EF9AF}">
      <dsp:nvSpPr>
        <dsp:cNvPr id="0" name=""/>
        <dsp:cNvSpPr/>
      </dsp:nvSpPr>
      <dsp:spPr>
        <a:xfrm>
          <a:off x="2387325" y="1052190"/>
          <a:ext cx="209854" cy="2098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5">
                <a:hueOff val="-5022969"/>
                <a:satOff val="27000"/>
                <a:lumOff val="5392"/>
                <a:alphaOff val="0"/>
                <a:tint val="50000"/>
                <a:satMod val="300000"/>
              </a:schemeClr>
            </a:gs>
            <a:gs pos="35000">
              <a:schemeClr val="accent5">
                <a:hueOff val="-5022969"/>
                <a:satOff val="27000"/>
                <a:lumOff val="5392"/>
                <a:alphaOff val="0"/>
                <a:tint val="37000"/>
                <a:satMod val="300000"/>
              </a:schemeClr>
            </a:gs>
            <a:gs pos="100000">
              <a:schemeClr val="accent5">
                <a:hueOff val="-5022969"/>
                <a:satOff val="27000"/>
                <a:lumOff val="5392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5022969"/>
              <a:satOff val="27000"/>
              <a:lumOff val="5392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1F167D4C-3C99-BB4E-AC52-AEC7676899F3}">
      <dsp:nvSpPr>
        <dsp:cNvPr id="0" name=""/>
        <dsp:cNvSpPr/>
      </dsp:nvSpPr>
      <dsp:spPr>
        <a:xfrm rot="5400000">
          <a:off x="2970124" y="805963"/>
          <a:ext cx="740376" cy="123197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5">
                <a:hueOff val="-6697293"/>
                <a:satOff val="36000"/>
                <a:lumOff val="7189"/>
                <a:alphaOff val="0"/>
                <a:tint val="50000"/>
                <a:satMod val="300000"/>
              </a:schemeClr>
            </a:gs>
            <a:gs pos="35000">
              <a:schemeClr val="accent5">
                <a:hueOff val="-6697293"/>
                <a:satOff val="36000"/>
                <a:lumOff val="7189"/>
                <a:alphaOff val="0"/>
                <a:tint val="37000"/>
                <a:satMod val="300000"/>
              </a:schemeClr>
            </a:gs>
            <a:gs pos="100000">
              <a:schemeClr val="accent5">
                <a:hueOff val="-6697293"/>
                <a:satOff val="36000"/>
                <a:lumOff val="7189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6697293"/>
              <a:satOff val="36000"/>
              <a:lumOff val="7189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3D25F1C1-E986-DD43-AF1F-37EE62CA42B9}">
      <dsp:nvSpPr>
        <dsp:cNvPr id="0" name=""/>
        <dsp:cNvSpPr/>
      </dsp:nvSpPr>
      <dsp:spPr>
        <a:xfrm>
          <a:off x="2893684" y="1174057"/>
          <a:ext cx="1017934" cy="974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Phát</a:t>
          </a:r>
          <a:r>
            <a:rPr lang="en-US" sz="1200" kern="1200" dirty="0"/>
            <a:t> </a:t>
          </a:r>
          <a:r>
            <a:rPr lang="en-US" sz="1200" kern="1200" dirty="0" err="1"/>
            <a:t>triển</a:t>
          </a:r>
          <a:r>
            <a:rPr lang="en-US" sz="1200" kern="1200" dirty="0"/>
            <a:t> Basic S/W </a:t>
          </a:r>
          <a:r>
            <a:rPr lang="en-US" sz="1200" kern="1200" dirty="0" err="1"/>
            <a:t>các</a:t>
          </a:r>
          <a:r>
            <a:rPr lang="en-US" sz="1200" kern="1200" dirty="0"/>
            <a:t> Model </a:t>
          </a:r>
          <a:r>
            <a:rPr lang="en-US" sz="1200" kern="1200" dirty="0" err="1"/>
            <a:t>đã</a:t>
          </a:r>
          <a:r>
            <a:rPr lang="en-US" sz="1200" kern="1200" dirty="0"/>
            <a:t> </a:t>
          </a:r>
          <a:r>
            <a:rPr lang="en-US" sz="1200" kern="1200" dirty="0" err="1"/>
            <a:t>được</a:t>
          </a:r>
          <a:r>
            <a:rPr lang="en-US" sz="1200" kern="1200" dirty="0"/>
            <a:t> </a:t>
          </a:r>
          <a:r>
            <a:rPr lang="en-US" sz="1200" kern="1200" dirty="0" err="1"/>
            <a:t>bán</a:t>
          </a:r>
          <a:r>
            <a:rPr lang="en-US" sz="1200" kern="1200" dirty="0"/>
            <a:t> </a:t>
          </a:r>
          <a:r>
            <a:rPr lang="en-US" sz="1200" kern="1200" dirty="0" err="1"/>
            <a:t>trên</a:t>
          </a:r>
          <a:r>
            <a:rPr lang="en-US" sz="1200" kern="1200" dirty="0"/>
            <a:t> </a:t>
          </a:r>
          <a:r>
            <a:rPr lang="en-US" sz="1200" kern="1200" dirty="0" err="1"/>
            <a:t>thị</a:t>
          </a:r>
          <a:r>
            <a:rPr lang="en-US" sz="1200" kern="1200" dirty="0"/>
            <a:t> </a:t>
          </a:r>
          <a:r>
            <a:rPr lang="en-US" sz="1200" kern="1200" dirty="0" err="1"/>
            <a:t>trường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/>
            <a:t>Galaxy J2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/>
            <a:t>Galaxy A6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200" kern="1200" dirty="0"/>
            <a:t>Galaxy J6</a:t>
          </a:r>
        </a:p>
      </dsp:txBody>
      <dsp:txXfrm>
        <a:off x="2893684" y="1174057"/>
        <a:ext cx="1017934" cy="974934"/>
      </dsp:txXfrm>
    </dsp:sp>
    <dsp:sp modelId="{5AD2758E-F22B-BE40-A2E2-85ED12291388}">
      <dsp:nvSpPr>
        <dsp:cNvPr id="0" name=""/>
        <dsp:cNvSpPr/>
      </dsp:nvSpPr>
      <dsp:spPr>
        <a:xfrm>
          <a:off x="3748911" y="715264"/>
          <a:ext cx="209854" cy="209854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5">
                <a:hueOff val="-8371615"/>
                <a:satOff val="45000"/>
                <a:lumOff val="8987"/>
                <a:alphaOff val="0"/>
                <a:tint val="50000"/>
                <a:satMod val="300000"/>
              </a:schemeClr>
            </a:gs>
            <a:gs pos="35000">
              <a:schemeClr val="accent5">
                <a:hueOff val="-8371615"/>
                <a:satOff val="45000"/>
                <a:lumOff val="8987"/>
                <a:alphaOff val="0"/>
                <a:tint val="37000"/>
                <a:satMod val="300000"/>
              </a:schemeClr>
            </a:gs>
            <a:gs pos="100000">
              <a:schemeClr val="accent5">
                <a:hueOff val="-8371615"/>
                <a:satOff val="45000"/>
                <a:lumOff val="8987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8371615"/>
              <a:satOff val="45000"/>
              <a:lumOff val="8987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53D06CD1-63DF-1041-A40C-DB2174C9704C}">
      <dsp:nvSpPr>
        <dsp:cNvPr id="0" name=""/>
        <dsp:cNvSpPr/>
      </dsp:nvSpPr>
      <dsp:spPr>
        <a:xfrm rot="5400000">
          <a:off x="4331710" y="469037"/>
          <a:ext cx="740376" cy="1231970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5">
                <a:hueOff val="-10045939"/>
                <a:satOff val="54000"/>
                <a:lumOff val="10784"/>
                <a:alphaOff val="0"/>
                <a:tint val="50000"/>
                <a:satMod val="300000"/>
              </a:schemeClr>
            </a:gs>
            <a:gs pos="35000">
              <a:schemeClr val="accent5">
                <a:hueOff val="-10045939"/>
                <a:satOff val="54000"/>
                <a:lumOff val="10784"/>
                <a:alphaOff val="0"/>
                <a:tint val="37000"/>
                <a:satMod val="300000"/>
              </a:schemeClr>
            </a:gs>
            <a:gs pos="100000">
              <a:schemeClr val="accent5">
                <a:hueOff val="-10045939"/>
                <a:satOff val="54000"/>
                <a:lumOff val="10784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hueOff val="-10045939"/>
              <a:satOff val="54000"/>
              <a:lumOff val="10784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2FCCE540-4207-6D47-AB2F-242426606888}">
      <dsp:nvSpPr>
        <dsp:cNvPr id="0" name=""/>
        <dsp:cNvSpPr/>
      </dsp:nvSpPr>
      <dsp:spPr>
        <a:xfrm>
          <a:off x="4208123" y="837131"/>
          <a:ext cx="1112229" cy="97493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200"/>
            </a:spcAft>
          </a:pPr>
          <a:r>
            <a:rPr lang="en-US" sz="1200" kern="1200" dirty="0" err="1"/>
            <a:t>Lần</a:t>
          </a:r>
          <a:r>
            <a:rPr lang="en-US" sz="1200" kern="1200" dirty="0"/>
            <a:t> </a:t>
          </a:r>
          <a:r>
            <a:rPr lang="en-US" sz="1200" kern="1200" dirty="0" err="1"/>
            <a:t>đầu</a:t>
          </a:r>
          <a:r>
            <a:rPr lang="en-US" sz="1200" kern="1200" dirty="0"/>
            <a:t> </a:t>
          </a:r>
          <a:r>
            <a:rPr lang="en-US" sz="1200" kern="1200" dirty="0" err="1"/>
            <a:t>tiên</a:t>
          </a:r>
          <a:r>
            <a:rPr lang="en-US" sz="1200" kern="1200" dirty="0"/>
            <a:t> </a:t>
          </a:r>
          <a:r>
            <a:rPr lang="en-US" sz="1200" kern="1200" dirty="0" err="1"/>
            <a:t>phát</a:t>
          </a:r>
          <a:r>
            <a:rPr lang="en-US" sz="1200" kern="1200" dirty="0"/>
            <a:t> </a:t>
          </a:r>
          <a:r>
            <a:rPr lang="en-US" sz="1200" kern="1200" dirty="0" err="1"/>
            <a:t>triển</a:t>
          </a:r>
          <a:r>
            <a:rPr lang="en-US" sz="1200" kern="1200" dirty="0"/>
            <a:t> Basic S/W </a:t>
          </a:r>
          <a:r>
            <a:rPr lang="en-US" sz="1200" kern="1200" dirty="0" err="1"/>
            <a:t>và</a:t>
          </a:r>
          <a:r>
            <a:rPr lang="en-US" sz="1200" kern="1200" dirty="0"/>
            <a:t> </a:t>
          </a:r>
          <a:r>
            <a:rPr lang="en-US" sz="1200" kern="1200" dirty="0" err="1"/>
            <a:t>các</a:t>
          </a:r>
          <a:r>
            <a:rPr lang="en-US" sz="1200" kern="1200" dirty="0"/>
            <a:t> </a:t>
          </a:r>
          <a:r>
            <a:rPr lang="en-US" sz="1200" kern="1200" dirty="0" err="1"/>
            <a:t>tính</a:t>
          </a:r>
          <a:r>
            <a:rPr lang="en-US" sz="1200" kern="1200" dirty="0"/>
            <a:t> </a:t>
          </a:r>
          <a:r>
            <a:rPr lang="en-US" sz="1200" kern="1200" dirty="0" err="1"/>
            <a:t>năng</a:t>
          </a:r>
          <a:r>
            <a:rPr lang="en-US" sz="1200" kern="1200" dirty="0"/>
            <a:t> </a:t>
          </a:r>
          <a:r>
            <a:rPr lang="en-US" sz="1200" kern="1200" dirty="0" err="1"/>
            <a:t>mới</a:t>
          </a:r>
          <a:endParaRPr lang="en-US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1200"/>
            </a:spcAft>
            <a:buChar char="••"/>
          </a:pPr>
          <a:r>
            <a:rPr lang="en-US" sz="1200" kern="1200" dirty="0"/>
            <a:t>Galaxy A7 </a:t>
          </a:r>
        </a:p>
      </dsp:txBody>
      <dsp:txXfrm>
        <a:off x="4208123" y="837131"/>
        <a:ext cx="1112229" cy="9749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6">
  <dgm:title val=""/>
  <dgm:desc val=""/>
  <dgm:catLst>
    <dgm:cat type="process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L"/>
          <dgm:param type="nodeHorzAlign" val="l"/>
        </dgm:alg>
      </dgm:if>
      <dgm:else name="Name2">
        <dgm:alg type="lin">
          <dgm:param type="linDir" val="from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refFor="ch" refForName="compNode" fact="0.7"/>
      <dgm:constr type="ctrY" for="ch" forName="compNode" refType="h" fact="0.5"/>
      <dgm:constr type="w" for="ch" forName="aSpace" refType="w" fact="0.05"/>
      <dgm:constr type="primFontSz" for="des" forName="childTextHidden" op="equ" val="65"/>
      <dgm:constr type="primFontSz" for="des" forName="parentText" op="equ"/>
    </dgm:constrLst>
    <dgm:ruleLst/>
    <dgm:forEach name="aNodeForEach" axis="ch" ptType="node">
      <dgm:layoutNode name="compNode">
        <dgm:alg type="composite">
          <dgm:param type="ar" val="1.43"/>
        </dgm:alg>
        <dgm:shape xmlns:r="http://schemas.openxmlformats.org/officeDocument/2006/relationships" r:blip="">
          <dgm:adjLst/>
        </dgm:shape>
        <dgm:presOf/>
        <dgm:choose name="Name3">
          <dgm:if name="Name4" func="var" arg="dir" op="equ" val="norm">
            <dgm:constrLst>
              <dgm:constr type="w" for="ch" forName="childTextVisible" refType="w" fact="0.8"/>
              <dgm:constr type="h" for="ch" forName="childTextVisible" refType="h"/>
              <dgm:constr type="r" for="ch" forName="childTextVisible" refType="w"/>
              <dgm:constr type="w" for="ch" forName="childTextHidden" refType="w" fact="0.6"/>
              <dgm:constr type="h" for="ch" forName="childTextHidden" refType="h"/>
              <dgm:constr type="r" for="ch" forName="childTextHidden" refType="w"/>
              <dgm:constr type="l" for="ch" forName="parentText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if>
          <dgm:else name="Name5">
            <dgm:constrLst>
              <dgm:constr type="w" for="ch" forName="childTextVisible" refType="w" fact="0.8"/>
              <dgm:constr type="h" for="ch" forName="childTextVisible" refType="h"/>
              <dgm:constr type="l" for="ch" forName="childTextVisible"/>
              <dgm:constr type="w" for="ch" forName="childTextHidden" refType="w" fact="0.6"/>
              <dgm:constr type="h" for="ch" forName="childTextHidden" refType="h"/>
              <dgm:constr type="l" for="ch" forName="childTextHidden"/>
              <dgm:constr type="r" for="ch" forName="parentText" refType="w"/>
              <dgm:constr type="w" for="ch" forName="parentText" refType="w" fact="0.4"/>
              <dgm:constr type="h" for="ch" forName="parentText" refType="w" refFor="ch" refForName="parentText" op="equ"/>
              <dgm:constr type="ctrY" for="ch" forName="parentText" refType="h" fact="0.5"/>
            </dgm:constrLst>
          </dgm:else>
        </dgm:choose>
        <dgm:ruleLst/>
        <dgm:layoutNode name="noGeometry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childTextVisible" styleLbl="bgAccFollowNode1">
          <dgm:varLst>
            <dgm:bulletEnabled val="1"/>
          </dgm:varLst>
          <dgm:alg type="sp"/>
          <dgm:choose name="Name6">
            <dgm:if name="Name7" func="var" arg="dir" op="equ" val="norm">
              <dgm:shape xmlns:r="http://schemas.openxmlformats.org/officeDocument/2006/relationships" type="rightArrow" r:blip="">
                <dgm:adjLst>
                  <dgm:adj idx="1" val="0.7"/>
                  <dgm:adj idx="2" val="0.5"/>
                </dgm:adjLst>
              </dgm:shape>
            </dgm:if>
            <dgm:else name="Name8">
              <dgm:shape xmlns:r="http://schemas.openxmlformats.org/officeDocument/2006/relationships" type="leftArrow" r:blip="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/>
          <dgm:ruleLst/>
        </dgm:layoutNode>
        <dgm:layoutNode name="childTextHidden" styleLbl="bgAccFollowNode1">
          <dgm:choose name="Name9">
            <dgm:if name="Name10" axis="des followSib" ptType="node node" st="1 1" cnt="1 0" func="cnt" op="gte" val="1">
              <dgm:alg type="tx">
                <dgm:param type="stBulletLvl" val="1"/>
                <dgm:param type="txAnchorVertCh" val="mid"/>
              </dgm:alg>
            </dgm:if>
            <dgm:else name="Name11">
              <dgm:alg type="tx">
                <dgm:param type="stBulletLvl" val="2"/>
                <dgm:param type="txAnchorVertCh" val="mid"/>
              </dgm:alg>
            </dgm:else>
          </dgm:choose>
          <dgm:choose name="Name12">
            <dgm:if name="Name13" func="var" arg="dir" op="equ" val="norm">
              <dgm:shape xmlns:r="http://schemas.openxmlformats.org/officeDocument/2006/relationships" type="rightArrow" r:blip="" hideGeom="1">
                <dgm:adjLst>
                  <dgm:adj idx="1" val="0.7"/>
                  <dgm:adj idx="2" val="0.5"/>
                </dgm:adjLst>
              </dgm:shape>
            </dgm:if>
            <dgm:else name="Name14">
              <dgm:shape xmlns:r="http://schemas.openxmlformats.org/officeDocument/2006/relationships" type="leftArrow" r:blip="" hideGeom="1">
                <dgm:adjLst>
                  <dgm:adj idx="1" val="0.7"/>
                  <dgm:adj idx="2" val="0.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rMarg" refType="primFontSz" fact="0.1"/>
            <dgm:constr type="lMarg" refType="primFontSz" fact="0.2"/>
          </dgm:constrLst>
          <dgm:ruleLst>
            <dgm:rule type="primFontSz" val="5" fact="NaN" max="NaN"/>
          </dgm:ruleLst>
        </dgm:layoutNode>
        <dgm:layoutNode name="parentText" styleLbl="node1">
          <dgm:varLst>
            <dgm:chMax val="1"/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primFontSz" val="65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choose name="Name15">
        <dgm:if name="Name16" axis="self" ptType="node" func="revPos" op="gte" val="2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82C052-20FE-4703-8EB2-4EA7C500A90F}" type="datetimeFigureOut">
              <a:rPr lang="ko-KR" altLang="en-US" smtClean="0"/>
              <a:t>2019-03-27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ko-KR" altLang="en-US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3BA79-3627-4D15-A7E2-CC410C442FEC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17806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08666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4309" algn="l" defTabSz="908666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08666" algn="l" defTabSz="908666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3012" algn="l" defTabSz="908666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17363" algn="l" defTabSz="908666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71688" algn="l" defTabSz="908666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26022" algn="l" defTabSz="908666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0368" algn="l" defTabSz="908666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34719" algn="l" defTabSz="908666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>
                <a:solidFill>
                  <a:prstClr val="black"/>
                </a:solidFill>
              </a:rPr>
              <a:pPr/>
              <a:t>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3177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ko-KR" altLang="en-US" sz="1200" b="1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비디오 감상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10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960201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마지막으로 베트남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oi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re(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뜨오이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일간지에 게재된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laxy A7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의 성공 사례를 소개하겠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삼성연구소 설립 초기에는 파생과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본사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W Re-use)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발에 중점을 두었고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7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년 이후부터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sic S/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발 주체로 개발 역량을 집중해 왔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에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작년 하반기에는 베트남 삼성 연구소에서 최초로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트리플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카메라를 적용한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스마트폰을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독자 개발하였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는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베트남 대학에서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배출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T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발인력들의 우수성을 세계에 알리는 계기가 되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11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3017397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호치민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주석님이 말씀하신 것처럼 베트남 대학과 기업은 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“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동일한 목적을 위해 동일한 생각과 행동을 함께하는 공동체 이며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한가족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”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라고 생각 합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베트남 대학의 발전을 통해 각 기업은 더 많은 성과를 창출할 수 있으며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베트남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CT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분야의 발전에도 기여할 것으로 봅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에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베트남 삼성은 베트남 대학이 우수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CT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인력을 양성해 나가는데 지속적으로 협력하고 지원토록 하겠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12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263195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08666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in Cam on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감사합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1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90258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베트남 삼성은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베트남내에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6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의 생산거점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1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의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&amp;D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센터 및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의 판매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거점을 운영하고 있으며 대졸채용은 매년 상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하반기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차례에 걸쳐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&amp;D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생산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기술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판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관리 등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전 분야에 걸쳐 다양한 인재를 채용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금일 발표하고자 하는 내용은 삼성이 추진하고 있는 산학 협력 프로그램으로 기업이 필요한 인력을 어떻게 사전 양성하고 학교는 기업에 필요한 인재를 지원해야 하는지에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대해 말씀 드리고자 합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그리고 이를 위해 무엇을 준비해야 하는지도 설명 드리고자 합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en-US" dirty="0" smtClean="0"/>
          </a:p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286139-8993-43E4-807A-A9FF34172AF2}" type="slidenum">
              <a:rPr lang="ko-KR" altLang="en-US">
                <a:solidFill>
                  <a:prstClr val="black"/>
                </a:solidFill>
                <a:latin typeface="Calibri"/>
              </a:rPr>
              <a:pPr/>
              <a:t>2</a:t>
            </a:fld>
            <a:endParaRPr lang="ko-KR" alt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9038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삼성은 베트남 대학의 발전을 위해 다양한 대학 협력 활동을 지속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우수 학생들에게는 장학금 지원뿐 아니라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CT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인력 양성에도 많은 관심을 가지고 대학과 협력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그 외 베트남의 대학 인프라 및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CT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기술 발전 위한 학회 및 세미나 지원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활동도 꾸준히 해오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3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8558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먼저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P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장학 프로그램을 소개해 드리겠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2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년 이후 약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536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명의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P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장학생을 선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육성하여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VMC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에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98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명이 입사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하였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P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장학생으로 선발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~4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학년 학생들에게는 생활비와 장학금 지급뿐 아니라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/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알고리즘 과정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수강시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수업료를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00%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지원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렇게 양성된 우수한 학생들은 졸업 후 베트남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모바일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연구소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SVMC)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뿐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아니라 다양한 베트남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CT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분야로 진출하여 역량을 발휘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연도별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P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장학생은 매년 꾸준히 증가하고 있으며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올해는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30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명의 장학생 선발을 목표로 진행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학교측에서도 많은 관심을 가지고 우수한 학생들이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P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장학 프로그램이 많이 동참할 수 있도록 지원 요청 드립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4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648367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다음은 삼성 커리큘럼에 관하여 말씀 드리겠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우수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/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엔지니어 채용을 위해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년부터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대학내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ava, Android,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zen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및 알고리즘 강좌를 개설하였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7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년부터 알고리즘 과목에 집중하고 있으며 삼성의 요구하는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/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엔지니어 역량 확보에 많은 도움이 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대학에 개설된 알고리즘 강좌는 학교별로 최소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5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시간에서 최대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0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시간 학업이수를 하게 되며 대학마다 차이는 있지만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~3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학점이 인정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현재까지 약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6,800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여명의 베트남 대학생들이 삼성이 개설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/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커리큘럼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과정에 참여하였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/W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뿐만 아니라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/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분야에서도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8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년부터 디스플레이와 관련하여 대학 협력을 시작하였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향후에도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ig Data, AI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등 미래 기술 분야를 대상으로 양성 프로그램을  확대 운영할 계획입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5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39531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또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년 이후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 대학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총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0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의 삼성 랩을 순차적으로 설치하여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/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알고리즘 교육용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b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으로 활용하고 있으며 학생들의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/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역량을 한 단계 끌어 올리는 계기가 되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6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904847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다음은 산학과제 운영 대해 설명 드리겠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삼성은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2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년 이후 총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1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의 산학과제를 진행한 바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대표적 산학과제로는 시각 장애인을 위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udio Book App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과 삼성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모바일에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탑재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MS Spam Filtering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알고리즘 개발이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특히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시각 장애인을 위한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앱은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현재 베트남 맹인협회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대학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삼성연구소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그리고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GO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가 함께 개발에 참여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러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SR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과제 이외에도 기술 리서치 과제 협력을 추진하고 있으나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는 아직까지는 성과가 미흡한 편입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altLang="ko-KR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7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32843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따라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산학과제 활성화를 위해서는 학교와 기업간의 상호 노력이 필요하다고 봅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에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베트남 대학에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몇가지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당부 드리고 싶은 것이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우선 각 대학별 중점 연구기술 및 강점 분야를 재정립하고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최신 기술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트렌드를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반영한 커리큘럼 개선을 요청 드립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또한 대학 자체 연구 인프라 확충 및 석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/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박사 우수 연구진 양성을 통해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미래 기술 확보에도 많은 관심과 투자를 부탁 드립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8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971309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앞에서 언급한 활동 이외에도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학생들의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/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발 역량 강화를 위해 코드그라운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S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알고리즘 문제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라는 온라인 시스템 운영과 삼성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/W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콘테스트를 통해 우수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T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엔지니어 육성도 매년 지원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또한 학생들이 삼성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en Day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시 삼성연구소를 방문하고 </a:t>
            </a:r>
            <a:r>
              <a:rPr lang="ko-KR" alt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인턴십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프로그램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참여를 통해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&amp;D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개발을 직간접 경험하고 체험 할 수 있는 기회도 제공</a:t>
            </a:r>
            <a:r>
              <a:rPr lang="en-US" altLang="ko-KR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이외에도 베트남 대학 발전을 위해 학회 및 세미나 후원활동도 지원 하고 있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latinLnBrk="1"/>
            <a:endParaRPr lang="en-US" altLang="ko-K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atinLnBrk="1"/>
            <a:r>
              <a:rPr lang="ko-KR" alt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앞서 소개한 활동들을 영상으로 준비하였으며 함께 시청토록 하겠습니다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endParaRPr lang="en-US" altLang="ko-KR" baseline="0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53BA79-3627-4D15-A7E2-CC410C442FEC}" type="slidenum">
              <a:rPr lang="ko-KR" altLang="en-US" smtClean="0"/>
              <a:t>9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6333039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479858"/>
              </p:ext>
            </p:extLst>
          </p:nvPr>
        </p:nvGraphicFramePr>
        <p:xfrm>
          <a:off x="2119" y="1992"/>
          <a:ext cx="2116" cy="19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992"/>
                        <a:ext cx="2116" cy="19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653" y="-9422"/>
            <a:ext cx="7785885" cy="2934269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81174" y="370698"/>
            <a:ext cx="2250831" cy="6629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7"/>
          <p:cNvSpPr/>
          <p:nvPr userDrawn="1"/>
        </p:nvSpPr>
        <p:spPr bwMode="white">
          <a:xfrm>
            <a:off x="3" y="6159020"/>
            <a:ext cx="12192000" cy="69907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algn="ctr" defTabSz="1031234" fontAlgn="base" latinLnBrk="0">
              <a:spcAft>
                <a:spcPts val="682"/>
              </a:spcAft>
              <a:buClr>
                <a:srgbClr val="4F81BD"/>
              </a:buClr>
            </a:pPr>
            <a:endParaRPr kumimoji="1" lang="en-US" sz="1600" b="1" dirty="0">
              <a:solidFill>
                <a:srgbClr val="FFFFFF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ltGray">
          <a:xfrm>
            <a:off x="3" y="6494615"/>
            <a:ext cx="12192000" cy="146828"/>
          </a:xfrm>
          <a:prstGeom prst="rect">
            <a:avLst/>
          </a:prstGeom>
          <a:solidFill>
            <a:schemeClr val="accent5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4414" y="4618908"/>
            <a:ext cx="3897232" cy="402336"/>
          </a:xfrm>
          <a:prstGeom prst="rect">
            <a:avLst/>
          </a:prstGeom>
          <a:noFill/>
          <a:ln w="6350" cap="flat">
            <a:noFill/>
          </a:ln>
        </p:spPr>
        <p:txBody>
          <a:bodyPr lIns="103132" tIns="51553" rIns="103132" bIns="51553" anchor="ctr" anchorCtr="0"/>
          <a:lstStyle>
            <a:lvl1pPr marL="0" indent="0" algn="l" rtl="0" fontAlgn="base">
              <a:spcBef>
                <a:spcPts val="0"/>
              </a:spcBef>
              <a:spcAft>
                <a:spcPct val="0"/>
              </a:spcAft>
              <a:buClr>
                <a:srgbClr val="002060"/>
              </a:buClr>
              <a:buFontTx/>
              <a:buNone/>
              <a:defRPr lang="en-US" altLang="en-US" sz="16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/>
              <a:t>Date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84411" y="4066320"/>
            <a:ext cx="3811060" cy="405218"/>
          </a:xfrm>
          <a:prstGeom prst="rect">
            <a:avLst/>
          </a:prstGeom>
          <a:noFill/>
          <a:ln w="6350" cap="flat">
            <a:noFill/>
          </a:ln>
        </p:spPr>
        <p:txBody>
          <a:bodyPr lIns="103132" tIns="51553" rIns="103132" bIns="51553" anchor="ctr" anchorCtr="0"/>
          <a:lstStyle>
            <a:lvl1pPr marL="0" indent="0" algn="l">
              <a:spcBef>
                <a:spcPts val="0"/>
              </a:spcBef>
              <a:buFontTx/>
              <a:buNone/>
              <a:defRPr sz="2100" b="1" baseline="0"/>
            </a:lvl1pPr>
          </a:lstStyle>
          <a:p>
            <a:r>
              <a:rPr lang="en-US" dirty="0"/>
              <a:t>Report type</a:t>
            </a:r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484411" y="2273618"/>
            <a:ext cx="10909116" cy="606226"/>
          </a:xfrm>
          <a:prstGeom prst="rect">
            <a:avLst/>
          </a:prstGeom>
          <a:noFill/>
          <a:ln w="6350" cap="flat">
            <a:noFill/>
          </a:ln>
        </p:spPr>
        <p:txBody>
          <a:bodyPr lIns="103132" tIns="51553" rIns="103132" bIns="51553"/>
          <a:lstStyle>
            <a:lvl1pPr algn="l">
              <a:lnSpc>
                <a:spcPct val="90000"/>
              </a:lnSpc>
              <a:defRPr sz="4000" b="0" baseline="0"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Project name</a:t>
            </a:r>
            <a:endParaRPr lang="de-DE" dirty="0"/>
          </a:p>
        </p:txBody>
      </p:sp>
      <p:sp>
        <p:nvSpPr>
          <p:cNvPr id="2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4411" y="2995364"/>
            <a:ext cx="10909116" cy="249299"/>
          </a:xfrm>
          <a:prstGeom prst="rect">
            <a:avLst/>
          </a:prstGeom>
          <a:noFill/>
          <a:ln w="6350" cap="flat">
            <a:noFill/>
          </a:ln>
        </p:spPr>
        <p:txBody>
          <a:bodyPr lIns="103132" tIns="51553" rIns="103132" bIns="51553"/>
          <a:lstStyle>
            <a:lvl1pPr marL="0" indent="0" algn="l">
              <a:lnSpc>
                <a:spcPct val="90000"/>
              </a:lnSpc>
              <a:spcBef>
                <a:spcPts val="1022"/>
              </a:spcBef>
              <a:buNone/>
              <a:defRPr sz="1800" b="0" i="1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515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1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46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62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78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93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09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24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ent name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6993604" y="4066323"/>
            <a:ext cx="2250831" cy="274320"/>
          </a:xfrm>
          <a:prstGeom prst="rect">
            <a:avLst/>
          </a:prstGeom>
        </p:spPr>
        <p:txBody>
          <a:bodyPr lIns="103132" tIns="51553" rIns="103132" bIns="51553" anchor="t" anchorCtr="0"/>
          <a:lstStyle>
            <a:lvl1pPr marL="0" indent="0">
              <a:spcBef>
                <a:spcPts val="0"/>
              </a:spcBef>
              <a:spcAft>
                <a:spcPts val="682"/>
              </a:spcAft>
              <a:buNone/>
              <a:defRPr sz="1300" i="0" baseline="0">
                <a:solidFill>
                  <a:schemeClr val="bg1">
                    <a:lumMod val="50000"/>
                  </a:schemeClr>
                </a:solidFill>
              </a:defRPr>
            </a:lvl1pPr>
            <a:lvl2pPr marL="206264" indent="0">
              <a:buNone/>
              <a:defRPr sz="1200"/>
            </a:lvl2pPr>
            <a:lvl3pPr marL="364542" indent="0">
              <a:buNone/>
              <a:defRPr sz="1200"/>
            </a:lvl3pPr>
            <a:lvl4pPr marL="576105" indent="0">
              <a:buNone/>
              <a:defRPr sz="1200"/>
            </a:lvl4pPr>
            <a:lvl5pPr marL="738916" indent="0">
              <a:buNone/>
              <a:defRPr sz="1200"/>
            </a:lvl5pPr>
          </a:lstStyle>
          <a:p>
            <a:pPr lvl="0"/>
            <a:r>
              <a:rPr lang="en-US" dirty="0"/>
              <a:t>Team member names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9343235" y="4066323"/>
            <a:ext cx="2024424" cy="274320"/>
          </a:xfrm>
          <a:prstGeom prst="rect">
            <a:avLst/>
          </a:prstGeom>
        </p:spPr>
        <p:txBody>
          <a:bodyPr lIns="103132" tIns="51553" rIns="103132" bIns="51553" anchor="t" anchorCtr="0"/>
          <a:lstStyle>
            <a:lvl1pPr marL="0" indent="0">
              <a:spcBef>
                <a:spcPts val="0"/>
              </a:spcBef>
              <a:spcAft>
                <a:spcPts val="682"/>
              </a:spcAft>
              <a:buNone/>
              <a:defRPr sz="1300" i="1">
                <a:solidFill>
                  <a:schemeClr val="bg1">
                    <a:lumMod val="50000"/>
                  </a:schemeClr>
                </a:solidFill>
              </a:defRPr>
            </a:lvl1pPr>
            <a:lvl2pPr marL="206264" indent="0">
              <a:buNone/>
              <a:defRPr sz="1200"/>
            </a:lvl2pPr>
            <a:lvl3pPr marL="364542" indent="0">
              <a:buNone/>
              <a:defRPr sz="1200"/>
            </a:lvl3pPr>
            <a:lvl4pPr marL="576105" indent="0">
              <a:buNone/>
              <a:defRPr sz="1200"/>
            </a:lvl4pPr>
            <a:lvl5pPr marL="738916" indent="0">
              <a:buNone/>
              <a:defRPr sz="1200"/>
            </a:lvl5pPr>
          </a:lstStyle>
          <a:p>
            <a:pPr lvl="0"/>
            <a:r>
              <a:rPr lang="en-US" dirty="0"/>
              <a:t>Roles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9323764" y="88483"/>
            <a:ext cx="2743205" cy="1118036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spcCol="0" rtlCol="0" anchor="ctr" anchorCtr="0" compatLnSpc="1">
            <a:prstTxWarp prst="textNoShape">
              <a:avLst/>
            </a:prstTxWarp>
          </a:bodyPr>
          <a:lstStyle/>
          <a:p>
            <a:pPr marL="515625" lvl="1" defTabSz="1031234" fontAlgn="base" latinLnBrk="0">
              <a:buClr>
                <a:srgbClr val="4F81BD"/>
              </a:buClr>
            </a:pPr>
            <a:r>
              <a:rPr kumimoji="1" lang="en-US" altLang="ko-KR" sz="2100" b="1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MOBILE GBM</a:t>
            </a:r>
          </a:p>
          <a:p>
            <a:pPr marL="515625" lvl="1" defTabSz="1031234" fontAlgn="base" latinLnBrk="0">
              <a:buClr>
                <a:srgbClr val="4F81BD"/>
              </a:buClr>
            </a:pPr>
            <a:r>
              <a:rPr kumimoji="1" lang="en-US" altLang="ko-KR" sz="2100" b="1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SOFTWARE</a:t>
            </a:r>
          </a:p>
          <a:p>
            <a:pPr marL="515625" lvl="1" defTabSz="1031234" fontAlgn="base" latinLnBrk="0">
              <a:buClr>
                <a:srgbClr val="4F81BD"/>
              </a:buClr>
            </a:pPr>
            <a:r>
              <a:rPr kumimoji="1" lang="en-US" altLang="ko-KR" sz="2100" b="1" dirty="0">
                <a:solidFill>
                  <a:srgbClr val="FFFFFF"/>
                </a:solidFill>
                <a:latin typeface="Arial Narrow" panose="020B0606020202030204" pitchFamily="34" charset="0"/>
                <a:cs typeface="Arial" pitchFamily="34" charset="0"/>
              </a:rPr>
              <a:t>&amp; SERVICES</a:t>
            </a:r>
            <a:endParaRPr kumimoji="1" lang="ko-KR" altLang="en-US" sz="2100" b="1" dirty="0">
              <a:solidFill>
                <a:srgbClr val="FFFFFF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986814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 &amp; takea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Box 4"/>
          <p:cNvSpPr txBox="1">
            <a:spLocks noChangeArrowheads="1"/>
          </p:cNvSpPr>
          <p:nvPr userDrawn="1"/>
        </p:nvSpPr>
        <p:spPr bwMode="gray">
          <a:xfrm>
            <a:off x="3" y="5695962"/>
            <a:ext cx="12192000" cy="61912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5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35" y="1724594"/>
            <a:ext cx="5401993" cy="38404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54645" y="1724594"/>
            <a:ext cx="5401993" cy="38404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aseline="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22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3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2513" y="5687644"/>
            <a:ext cx="11197883" cy="62179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marR="0" indent="-206264" algn="l" defTabSz="1031234" rtl="0" eaLnBrk="1" fontAlgn="base" latinLnBrk="0" hangingPunct="1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Tx/>
              <a:buSzTx/>
              <a:buNone/>
              <a:tabLst/>
              <a:defRPr lang="en-US" altLang="en-US" sz="2100" b="1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akeaway box- no more than 2 lines</a:t>
            </a: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30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3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625464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240040323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601" y="1728596"/>
            <a:ext cx="3601329" cy="457200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8059166" y="1728596"/>
            <a:ext cx="3601329" cy="457200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18" hasCustomPrompt="1"/>
          </p:nvPr>
        </p:nvSpPr>
        <p:spPr>
          <a:xfrm>
            <a:off x="4263586" y="1728596"/>
            <a:ext cx="3601329" cy="457200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601" y="1276363"/>
            <a:ext cx="3601329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4263586" y="1276363"/>
            <a:ext cx="3601329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8059166" y="1276363"/>
            <a:ext cx="3601329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2666432057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boxes &amp; takea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Box 4"/>
          <p:cNvSpPr txBox="1">
            <a:spLocks noChangeArrowheads="1"/>
          </p:cNvSpPr>
          <p:nvPr userDrawn="1"/>
        </p:nvSpPr>
        <p:spPr bwMode="gray">
          <a:xfrm>
            <a:off x="3" y="5695962"/>
            <a:ext cx="12192000" cy="61912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601" y="1728596"/>
            <a:ext cx="3601329" cy="38404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8059166" y="1728596"/>
            <a:ext cx="3601329" cy="38404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11"/>
          <p:cNvSpPr>
            <a:spLocks noGrp="1"/>
          </p:cNvSpPr>
          <p:nvPr>
            <p:ph sz="quarter" idx="18" hasCustomPrompt="1"/>
          </p:nvPr>
        </p:nvSpPr>
        <p:spPr>
          <a:xfrm>
            <a:off x="4263586" y="1728596"/>
            <a:ext cx="3601329" cy="38404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aseline="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62513" y="5687644"/>
            <a:ext cx="11197883" cy="62179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marR="0" indent="-206264" algn="l" defTabSz="1031234" rtl="0" eaLnBrk="1" fontAlgn="base" latinLnBrk="0" hangingPunct="1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Tx/>
              <a:buSzTx/>
              <a:buNone/>
              <a:tabLst/>
              <a:defRPr lang="en-US" altLang="en-US" sz="2100" b="1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akeaway box- no more than 2 lines</a:t>
            </a:r>
          </a:p>
        </p:txBody>
      </p:sp>
      <p:sp>
        <p:nvSpPr>
          <p:cNvPr id="23" name="Rectangle 22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601" y="1276363"/>
            <a:ext cx="3601329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4263586" y="1276363"/>
            <a:ext cx="3601329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8059166" y="1276363"/>
            <a:ext cx="3601329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287103798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13" y="1724593"/>
            <a:ext cx="1119788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22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3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13" y="1276363"/>
            <a:ext cx="1119788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462513" y="3810464"/>
            <a:ext cx="1119788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11" name="Content Placeholder 11"/>
          <p:cNvSpPr>
            <a:spLocks noGrp="1"/>
          </p:cNvSpPr>
          <p:nvPr>
            <p:ph sz="quarter" idx="29" hasCustomPrompt="1"/>
          </p:nvPr>
        </p:nvSpPr>
        <p:spPr>
          <a:xfrm>
            <a:off x="462513" y="4279903"/>
            <a:ext cx="1119788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97785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 stacked + takeaway box w/ running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13" y="1724590"/>
            <a:ext cx="1119788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gray">
          <a:xfrm>
            <a:off x="3" y="5695962"/>
            <a:ext cx="12192000" cy="61912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62513" y="5687644"/>
            <a:ext cx="11197883" cy="62179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marR="0" indent="-206264" algn="l" defTabSz="1031234" rtl="0" eaLnBrk="1" fontAlgn="base" latinLnBrk="0" hangingPunct="1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Tx/>
              <a:buSzTx/>
              <a:buNone/>
              <a:tabLst/>
              <a:defRPr lang="en-US" altLang="en-US" sz="2100" b="1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akeaway box- no more than 2 lines</a:t>
            </a:r>
          </a:p>
        </p:txBody>
      </p:sp>
      <p:sp>
        <p:nvSpPr>
          <p:cNvPr id="24" name="Rectangle 23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30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13" y="1276363"/>
            <a:ext cx="1119788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30" hasCustomPrompt="1"/>
          </p:nvPr>
        </p:nvSpPr>
        <p:spPr>
          <a:xfrm>
            <a:off x="462513" y="3476631"/>
            <a:ext cx="1119788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31" hasCustomPrompt="1"/>
          </p:nvPr>
        </p:nvSpPr>
        <p:spPr>
          <a:xfrm>
            <a:off x="462513" y="3916646"/>
            <a:ext cx="1119788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030514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2 text boxes stacked +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35" y="1737119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2535" y="4279903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11"/>
          <p:cNvSpPr>
            <a:spLocks noGrp="1"/>
          </p:cNvSpPr>
          <p:nvPr>
            <p:ph sz="quarter" idx="20" hasCustomPrompt="1"/>
          </p:nvPr>
        </p:nvSpPr>
        <p:spPr>
          <a:xfrm>
            <a:off x="6254645" y="1737119"/>
            <a:ext cx="5401993" cy="457200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2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3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625464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462535" y="3810857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4037248394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2 text boxes stacked + 1 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Box 4"/>
          <p:cNvSpPr txBox="1">
            <a:spLocks noChangeArrowheads="1"/>
          </p:cNvSpPr>
          <p:nvPr userDrawn="1"/>
        </p:nvSpPr>
        <p:spPr bwMode="gray">
          <a:xfrm>
            <a:off x="3" y="5695962"/>
            <a:ext cx="12192000" cy="61912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35" y="1737119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11"/>
          <p:cNvSpPr>
            <a:spLocks noGrp="1"/>
          </p:cNvSpPr>
          <p:nvPr>
            <p:ph sz="quarter" idx="23" hasCustomPrompt="1"/>
          </p:nvPr>
        </p:nvSpPr>
        <p:spPr>
          <a:xfrm>
            <a:off x="462535" y="3916646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Content Placeholder 11"/>
          <p:cNvSpPr>
            <a:spLocks noGrp="1"/>
          </p:cNvSpPr>
          <p:nvPr>
            <p:ph sz="quarter" idx="24" hasCustomPrompt="1"/>
          </p:nvPr>
        </p:nvSpPr>
        <p:spPr>
          <a:xfrm>
            <a:off x="6254645" y="1737120"/>
            <a:ext cx="5401993" cy="38404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62513" y="5687644"/>
            <a:ext cx="11197883" cy="62179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marR="0" indent="-206264" algn="l" defTabSz="1031234" rtl="0" eaLnBrk="1" fontAlgn="base" latinLnBrk="0" hangingPunct="1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Tx/>
              <a:buSzTx/>
              <a:buNone/>
              <a:tabLst/>
              <a:defRPr lang="en-US" altLang="en-US" sz="2100" b="1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akeaway box- no more than 2 lines</a:t>
            </a:r>
          </a:p>
        </p:txBody>
      </p:sp>
      <p:sp>
        <p:nvSpPr>
          <p:cNvPr id="25" name="Rectangle 24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30" hasCustomPrompt="1"/>
          </p:nvPr>
        </p:nvSpPr>
        <p:spPr>
          <a:xfrm>
            <a:off x="46253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4" name="Text Placeholder 14"/>
          <p:cNvSpPr>
            <a:spLocks noGrp="1"/>
          </p:cNvSpPr>
          <p:nvPr>
            <p:ph type="body" sz="quarter" idx="31" hasCustomPrompt="1"/>
          </p:nvPr>
        </p:nvSpPr>
        <p:spPr>
          <a:xfrm>
            <a:off x="625464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32" hasCustomPrompt="1"/>
          </p:nvPr>
        </p:nvSpPr>
        <p:spPr>
          <a:xfrm>
            <a:off x="462535" y="3464735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6305515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right boxes stack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54645" y="1737121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54645" y="4292426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	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8" hasCustomPrompt="1"/>
          </p:nvPr>
        </p:nvSpPr>
        <p:spPr>
          <a:xfrm>
            <a:off x="462535" y="1737120"/>
            <a:ext cx="5401993" cy="457200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20" name="Rectangle 19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3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625464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6254645" y="3810857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111767956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 stacked right + side box &amp; takea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Box 4"/>
          <p:cNvSpPr txBox="1">
            <a:spLocks noChangeArrowheads="1"/>
          </p:cNvSpPr>
          <p:nvPr userDrawn="1"/>
        </p:nvSpPr>
        <p:spPr bwMode="gray">
          <a:xfrm>
            <a:off x="3" y="5695962"/>
            <a:ext cx="12192000" cy="61912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54645" y="1737119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54645" y="3904120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1"/>
          <p:cNvSpPr>
            <a:spLocks noGrp="1"/>
          </p:cNvSpPr>
          <p:nvPr>
            <p:ph sz="quarter" idx="18" hasCustomPrompt="1"/>
          </p:nvPr>
        </p:nvSpPr>
        <p:spPr>
          <a:xfrm>
            <a:off x="462535" y="1737120"/>
            <a:ext cx="5401993" cy="38404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62513" y="5687644"/>
            <a:ext cx="11197883" cy="62179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marR="0" indent="-206264" algn="l" defTabSz="1031234" rtl="0" eaLnBrk="1" fontAlgn="base" latinLnBrk="0" hangingPunct="1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Tx/>
              <a:buSzTx/>
              <a:buNone/>
              <a:tabLst/>
              <a:defRPr lang="en-US" altLang="en-US" sz="2100" b="1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akeaway box- no more than 2 lines</a:t>
            </a:r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3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625464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0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6254645" y="3477261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8267566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54645" y="1737121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54645" y="4292426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24" hasCustomPrompt="1"/>
          </p:nvPr>
        </p:nvSpPr>
        <p:spPr>
          <a:xfrm>
            <a:off x="462535" y="1737119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aseline="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11"/>
          <p:cNvSpPr>
            <a:spLocks noGrp="1"/>
          </p:cNvSpPr>
          <p:nvPr>
            <p:ph sz="quarter" idx="25" hasCustomPrompt="1"/>
          </p:nvPr>
        </p:nvSpPr>
        <p:spPr>
          <a:xfrm>
            <a:off x="462535" y="4292426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46253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8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625464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30" hasCustomPrompt="1"/>
          </p:nvPr>
        </p:nvSpPr>
        <p:spPr>
          <a:xfrm>
            <a:off x="6254645" y="3810857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0" name="Text Placeholder 14"/>
          <p:cNvSpPr>
            <a:spLocks noGrp="1"/>
          </p:cNvSpPr>
          <p:nvPr>
            <p:ph type="body" sz="quarter" idx="31" hasCustomPrompt="1"/>
          </p:nvPr>
        </p:nvSpPr>
        <p:spPr>
          <a:xfrm>
            <a:off x="462535" y="3810857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72530846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131809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&amp; takea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Box 4"/>
          <p:cNvSpPr txBox="1">
            <a:spLocks noChangeArrowheads="1"/>
          </p:cNvSpPr>
          <p:nvPr userDrawn="1"/>
        </p:nvSpPr>
        <p:spPr bwMode="gray">
          <a:xfrm>
            <a:off x="3" y="5695962"/>
            <a:ext cx="12192000" cy="61912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54645" y="1737119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54645" y="3904120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25" name="Content Placeholder 11"/>
          <p:cNvSpPr>
            <a:spLocks noGrp="1"/>
          </p:cNvSpPr>
          <p:nvPr>
            <p:ph sz="quarter" idx="26" hasCustomPrompt="1"/>
          </p:nvPr>
        </p:nvSpPr>
        <p:spPr>
          <a:xfrm>
            <a:off x="462535" y="1737119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aseline="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11"/>
          <p:cNvSpPr>
            <a:spLocks noGrp="1"/>
          </p:cNvSpPr>
          <p:nvPr>
            <p:ph sz="quarter" idx="27" hasCustomPrompt="1"/>
          </p:nvPr>
        </p:nvSpPr>
        <p:spPr>
          <a:xfrm>
            <a:off x="462535" y="3904120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62513" y="5687644"/>
            <a:ext cx="11197883" cy="62179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marR="0" indent="-206264" algn="l" defTabSz="1031234" rtl="0" eaLnBrk="1" fontAlgn="base" latinLnBrk="0" hangingPunct="1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Tx/>
              <a:buSzTx/>
              <a:buNone/>
              <a:tabLst/>
              <a:defRPr lang="en-US" altLang="en-US" sz="2100" b="1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akeaway box- no more than 2 lines</a:t>
            </a:r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30" name="Text Placeholder 14"/>
          <p:cNvSpPr>
            <a:spLocks noGrp="1"/>
          </p:cNvSpPr>
          <p:nvPr>
            <p:ph type="body" sz="quarter" idx="31" hasCustomPrompt="1"/>
          </p:nvPr>
        </p:nvSpPr>
        <p:spPr>
          <a:xfrm>
            <a:off x="46253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32" hasCustomPrompt="1"/>
          </p:nvPr>
        </p:nvSpPr>
        <p:spPr>
          <a:xfrm>
            <a:off x="625464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2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6254645" y="3477261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34" hasCustomPrompt="1"/>
          </p:nvPr>
        </p:nvSpPr>
        <p:spPr>
          <a:xfrm>
            <a:off x="462535" y="3464735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297518654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stacked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54645" y="4292426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24" name="Content Placeholder 11"/>
          <p:cNvSpPr>
            <a:spLocks noGrp="1"/>
          </p:cNvSpPr>
          <p:nvPr>
            <p:ph sz="quarter" idx="25" hasCustomPrompt="1"/>
          </p:nvPr>
        </p:nvSpPr>
        <p:spPr>
          <a:xfrm>
            <a:off x="462535" y="4292426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13" y="1728596"/>
            <a:ext cx="1119788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462513" y="1276363"/>
            <a:ext cx="1119788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30" hasCustomPrompt="1"/>
          </p:nvPr>
        </p:nvSpPr>
        <p:spPr>
          <a:xfrm>
            <a:off x="6254645" y="3810857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31" hasCustomPrompt="1"/>
          </p:nvPr>
        </p:nvSpPr>
        <p:spPr>
          <a:xfrm>
            <a:off x="462535" y="3810857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255513946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stacked top &amp;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Box 4"/>
          <p:cNvSpPr txBox="1">
            <a:spLocks noChangeArrowheads="1"/>
          </p:cNvSpPr>
          <p:nvPr userDrawn="1"/>
        </p:nvSpPr>
        <p:spPr bwMode="gray">
          <a:xfrm>
            <a:off x="3" y="5695962"/>
            <a:ext cx="12192000" cy="61912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54645" y="3904120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27" name="Content Placeholder 11"/>
          <p:cNvSpPr>
            <a:spLocks noGrp="1"/>
          </p:cNvSpPr>
          <p:nvPr>
            <p:ph sz="quarter" idx="27" hasCustomPrompt="1"/>
          </p:nvPr>
        </p:nvSpPr>
        <p:spPr>
          <a:xfrm>
            <a:off x="462535" y="3904120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aseline="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13" y="1728594"/>
            <a:ext cx="1119788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62513" y="5687644"/>
            <a:ext cx="11197883" cy="62179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marR="0" indent="-206264" algn="l" defTabSz="1031234" rtl="0" eaLnBrk="1" fontAlgn="base" latinLnBrk="0" hangingPunct="1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Tx/>
              <a:buSzTx/>
              <a:buNone/>
              <a:tabLst/>
              <a:defRPr lang="en-US" altLang="en-US" sz="2100" b="1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akeaway box- no more than 2 lines</a:t>
            </a:r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31" hasCustomPrompt="1"/>
          </p:nvPr>
        </p:nvSpPr>
        <p:spPr>
          <a:xfrm>
            <a:off x="462513" y="1276363"/>
            <a:ext cx="1119788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0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6254645" y="3477261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34" hasCustomPrompt="1"/>
          </p:nvPr>
        </p:nvSpPr>
        <p:spPr>
          <a:xfrm>
            <a:off x="462535" y="3464735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2555349062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stacked b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54645" y="1737121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24" hasCustomPrompt="1"/>
          </p:nvPr>
        </p:nvSpPr>
        <p:spPr>
          <a:xfrm>
            <a:off x="462535" y="1737119"/>
            <a:ext cx="540199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Content Placeholder 11"/>
          <p:cNvSpPr>
            <a:spLocks noGrp="1"/>
          </p:cNvSpPr>
          <p:nvPr>
            <p:ph sz="quarter" idx="25" hasCustomPrompt="1"/>
          </p:nvPr>
        </p:nvSpPr>
        <p:spPr>
          <a:xfrm>
            <a:off x="462513" y="4266981"/>
            <a:ext cx="11197883" cy="201168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1" hasCustomPrompt="1"/>
          </p:nvPr>
        </p:nvSpPr>
        <p:spPr>
          <a:xfrm>
            <a:off x="46253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4" name="Text Placeholder 14"/>
          <p:cNvSpPr>
            <a:spLocks noGrp="1"/>
          </p:cNvSpPr>
          <p:nvPr>
            <p:ph type="body" sz="quarter" idx="32" hasCustomPrompt="1"/>
          </p:nvPr>
        </p:nvSpPr>
        <p:spPr>
          <a:xfrm>
            <a:off x="625464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462513" y="3810464"/>
            <a:ext cx="1119788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157178231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es stacked bot &amp;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Box 4"/>
          <p:cNvSpPr txBox="1">
            <a:spLocks noChangeArrowheads="1"/>
          </p:cNvSpPr>
          <p:nvPr userDrawn="1"/>
        </p:nvSpPr>
        <p:spPr bwMode="gray">
          <a:xfrm>
            <a:off x="3" y="5695962"/>
            <a:ext cx="12192000" cy="61912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54645" y="1737119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25" name="Content Placeholder 11"/>
          <p:cNvSpPr>
            <a:spLocks noGrp="1"/>
          </p:cNvSpPr>
          <p:nvPr>
            <p:ph sz="quarter" idx="26" hasCustomPrompt="1"/>
          </p:nvPr>
        </p:nvSpPr>
        <p:spPr>
          <a:xfrm>
            <a:off x="462535" y="1737119"/>
            <a:ext cx="540199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27" hasCustomPrompt="1"/>
          </p:nvPr>
        </p:nvSpPr>
        <p:spPr>
          <a:xfrm>
            <a:off x="462513" y="3933150"/>
            <a:ext cx="11197883" cy="166420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23" name="Text Placehold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62513" y="5687644"/>
            <a:ext cx="11197883" cy="62179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marR="0" indent="-206264" algn="l" defTabSz="1031234" rtl="0" eaLnBrk="1" fontAlgn="base" latinLnBrk="0" hangingPunct="1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Tx/>
              <a:buSzTx/>
              <a:buNone/>
              <a:tabLst/>
              <a:defRPr lang="en-US" altLang="en-US" sz="2100" b="1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akeaway box- no more than 2 lines</a:t>
            </a:r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31" hasCustomPrompt="1"/>
          </p:nvPr>
        </p:nvSpPr>
        <p:spPr>
          <a:xfrm>
            <a:off x="46253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0" name="Text Placeholder 14"/>
          <p:cNvSpPr>
            <a:spLocks noGrp="1"/>
          </p:cNvSpPr>
          <p:nvPr>
            <p:ph type="body" sz="quarter" idx="32" hasCustomPrompt="1"/>
          </p:nvPr>
        </p:nvSpPr>
        <p:spPr>
          <a:xfrm>
            <a:off x="625464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33" hasCustomPrompt="1"/>
          </p:nvPr>
        </p:nvSpPr>
        <p:spPr>
          <a:xfrm>
            <a:off x="462513" y="3476631"/>
            <a:ext cx="1119788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307627834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eaw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114" y="1114816"/>
            <a:ext cx="10683737" cy="4871648"/>
          </a:xfrm>
          <a:custGeom>
            <a:avLst/>
            <a:gdLst>
              <a:gd name="connsiteX0" fmla="*/ 0 w 9144000"/>
              <a:gd name="connsiteY0" fmla="*/ 0 h 4743450"/>
              <a:gd name="connsiteX1" fmla="*/ 9144000 w 9144000"/>
              <a:gd name="connsiteY1" fmla="*/ 0 h 4743450"/>
              <a:gd name="connsiteX2" fmla="*/ 9144000 w 9144000"/>
              <a:gd name="connsiteY2" fmla="*/ 4743450 h 4743450"/>
              <a:gd name="connsiteX3" fmla="*/ 0 w 9144000"/>
              <a:gd name="connsiteY3" fmla="*/ 4743450 h 4743450"/>
              <a:gd name="connsiteX4" fmla="*/ 0 w 9144000"/>
              <a:gd name="connsiteY4" fmla="*/ 0 h 4743450"/>
              <a:gd name="connsiteX0" fmla="*/ 0 w 9144000"/>
              <a:gd name="connsiteY0" fmla="*/ 0 h 4743450"/>
              <a:gd name="connsiteX1" fmla="*/ 9144000 w 9144000"/>
              <a:gd name="connsiteY1" fmla="*/ 0 h 4743450"/>
              <a:gd name="connsiteX2" fmla="*/ 6981825 w 9144000"/>
              <a:gd name="connsiteY2" fmla="*/ 4743450 h 4743450"/>
              <a:gd name="connsiteX3" fmla="*/ 0 w 9144000"/>
              <a:gd name="connsiteY3" fmla="*/ 4743450 h 4743450"/>
              <a:gd name="connsiteX4" fmla="*/ 0 w 9144000"/>
              <a:gd name="connsiteY4" fmla="*/ 0 h 4743450"/>
              <a:gd name="connsiteX0" fmla="*/ 0 w 9144000"/>
              <a:gd name="connsiteY0" fmla="*/ 0 h 4743450"/>
              <a:gd name="connsiteX1" fmla="*/ 9144000 w 9144000"/>
              <a:gd name="connsiteY1" fmla="*/ 0 h 4743450"/>
              <a:gd name="connsiteX2" fmla="*/ 7524750 w 9144000"/>
              <a:gd name="connsiteY2" fmla="*/ 4743450 h 4743450"/>
              <a:gd name="connsiteX3" fmla="*/ 0 w 9144000"/>
              <a:gd name="connsiteY3" fmla="*/ 4743450 h 4743450"/>
              <a:gd name="connsiteX4" fmla="*/ 0 w 9144000"/>
              <a:gd name="connsiteY4" fmla="*/ 0 h 4743450"/>
              <a:gd name="connsiteX0" fmla="*/ 0 w 9144000"/>
              <a:gd name="connsiteY0" fmla="*/ 0 h 4743450"/>
              <a:gd name="connsiteX1" fmla="*/ 9144000 w 9144000"/>
              <a:gd name="connsiteY1" fmla="*/ 0 h 4743450"/>
              <a:gd name="connsiteX2" fmla="*/ 8029575 w 9144000"/>
              <a:gd name="connsiteY2" fmla="*/ 4743450 h 4743450"/>
              <a:gd name="connsiteX3" fmla="*/ 0 w 9144000"/>
              <a:gd name="connsiteY3" fmla="*/ 4743450 h 4743450"/>
              <a:gd name="connsiteX4" fmla="*/ 0 w 9144000"/>
              <a:gd name="connsiteY4" fmla="*/ 0 h 4743450"/>
              <a:gd name="connsiteX0" fmla="*/ 0 w 9829800"/>
              <a:gd name="connsiteY0" fmla="*/ 0 h 4743450"/>
              <a:gd name="connsiteX1" fmla="*/ 9829800 w 9829800"/>
              <a:gd name="connsiteY1" fmla="*/ 0 h 4743450"/>
              <a:gd name="connsiteX2" fmla="*/ 8029575 w 9829800"/>
              <a:gd name="connsiteY2" fmla="*/ 4743450 h 4743450"/>
              <a:gd name="connsiteX3" fmla="*/ 0 w 9829800"/>
              <a:gd name="connsiteY3" fmla="*/ 4743450 h 4743450"/>
              <a:gd name="connsiteX4" fmla="*/ 0 w 9829800"/>
              <a:gd name="connsiteY4" fmla="*/ 0 h 4743450"/>
              <a:gd name="connsiteX0" fmla="*/ 0 w 10544741"/>
              <a:gd name="connsiteY0" fmla="*/ 0 h 4743450"/>
              <a:gd name="connsiteX1" fmla="*/ 10544741 w 10544741"/>
              <a:gd name="connsiteY1" fmla="*/ 0 h 4743450"/>
              <a:gd name="connsiteX2" fmla="*/ 8029575 w 10544741"/>
              <a:gd name="connsiteY2" fmla="*/ 4743450 h 4743450"/>
              <a:gd name="connsiteX3" fmla="*/ 0 w 10544741"/>
              <a:gd name="connsiteY3" fmla="*/ 4743450 h 4743450"/>
              <a:gd name="connsiteX4" fmla="*/ 0 w 10544741"/>
              <a:gd name="connsiteY4" fmla="*/ 0 h 4743450"/>
              <a:gd name="connsiteX0" fmla="*/ 0 w 9931935"/>
              <a:gd name="connsiteY0" fmla="*/ 0 h 4743450"/>
              <a:gd name="connsiteX1" fmla="*/ 9931935 w 9931935"/>
              <a:gd name="connsiteY1" fmla="*/ 0 h 4743450"/>
              <a:gd name="connsiteX2" fmla="*/ 8029575 w 9931935"/>
              <a:gd name="connsiteY2" fmla="*/ 4743450 h 4743450"/>
              <a:gd name="connsiteX3" fmla="*/ 0 w 9931935"/>
              <a:gd name="connsiteY3" fmla="*/ 4743450 h 4743450"/>
              <a:gd name="connsiteX4" fmla="*/ 0 w 9931935"/>
              <a:gd name="connsiteY4" fmla="*/ 0 h 4743450"/>
              <a:gd name="connsiteX0" fmla="*/ 0 w 9931935"/>
              <a:gd name="connsiteY0" fmla="*/ 0 h 4743450"/>
              <a:gd name="connsiteX1" fmla="*/ 9931935 w 9931935"/>
              <a:gd name="connsiteY1" fmla="*/ 0 h 4743450"/>
              <a:gd name="connsiteX2" fmla="*/ 7161433 w 9931935"/>
              <a:gd name="connsiteY2" fmla="*/ 4743450 h 4743450"/>
              <a:gd name="connsiteX3" fmla="*/ 0 w 9931935"/>
              <a:gd name="connsiteY3" fmla="*/ 4743450 h 4743450"/>
              <a:gd name="connsiteX4" fmla="*/ 0 w 9931935"/>
              <a:gd name="connsiteY4" fmla="*/ 0 h 4743450"/>
              <a:gd name="connsiteX0" fmla="*/ 0 w 9931935"/>
              <a:gd name="connsiteY0" fmla="*/ 0 h 4743450"/>
              <a:gd name="connsiteX1" fmla="*/ 9931935 w 9931935"/>
              <a:gd name="connsiteY1" fmla="*/ 0 h 4743450"/>
              <a:gd name="connsiteX2" fmla="*/ 8101069 w 9931935"/>
              <a:gd name="connsiteY2" fmla="*/ 4743450 h 4743450"/>
              <a:gd name="connsiteX3" fmla="*/ 0 w 9931935"/>
              <a:gd name="connsiteY3" fmla="*/ 4743450 h 4743450"/>
              <a:gd name="connsiteX4" fmla="*/ 0 w 9931935"/>
              <a:gd name="connsiteY4" fmla="*/ 0 h 4743450"/>
              <a:gd name="connsiteX0" fmla="*/ 0 w 9931935"/>
              <a:gd name="connsiteY0" fmla="*/ 0 h 4743450"/>
              <a:gd name="connsiteX1" fmla="*/ 9931935 w 9931935"/>
              <a:gd name="connsiteY1" fmla="*/ 0 h 4743450"/>
              <a:gd name="connsiteX2" fmla="*/ 7866728 w 9931935"/>
              <a:gd name="connsiteY2" fmla="*/ 4743450 h 4743450"/>
              <a:gd name="connsiteX3" fmla="*/ 0 w 9931935"/>
              <a:gd name="connsiteY3" fmla="*/ 4743450 h 4743450"/>
              <a:gd name="connsiteX4" fmla="*/ 0 w 9931935"/>
              <a:gd name="connsiteY4" fmla="*/ 0 h 4743450"/>
              <a:gd name="connsiteX0" fmla="*/ 0 w 9931935"/>
              <a:gd name="connsiteY0" fmla="*/ 0 h 4743450"/>
              <a:gd name="connsiteX1" fmla="*/ 9931935 w 9931935"/>
              <a:gd name="connsiteY1" fmla="*/ 0 h 4743450"/>
              <a:gd name="connsiteX2" fmla="*/ 8109439 w 9931935"/>
              <a:gd name="connsiteY2" fmla="*/ 4743450 h 4743450"/>
              <a:gd name="connsiteX3" fmla="*/ 0 w 9931935"/>
              <a:gd name="connsiteY3" fmla="*/ 4743450 h 4743450"/>
              <a:gd name="connsiteX4" fmla="*/ 0 w 9931935"/>
              <a:gd name="connsiteY4" fmla="*/ 0 h 4743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31935" h="4743450">
                <a:moveTo>
                  <a:pt x="0" y="0"/>
                </a:moveTo>
                <a:lnTo>
                  <a:pt x="9931935" y="0"/>
                </a:lnTo>
                <a:lnTo>
                  <a:pt x="8109439" y="4743450"/>
                </a:lnTo>
                <a:lnTo>
                  <a:pt x="0" y="47434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132" tIns="51553" rIns="103132" bIns="51553" anchor="ctr"/>
          <a:lstStyle/>
          <a:p>
            <a:pPr algn="ctr" defTabSz="1031234" latinLnBrk="0">
              <a:defRPr/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955845" y="1258156"/>
            <a:ext cx="7784579" cy="458498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682"/>
              </a:spcAft>
              <a:buNone/>
              <a:defRPr sz="3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akeaway slide</a:t>
            </a:r>
          </a:p>
        </p:txBody>
      </p:sp>
    </p:spTree>
    <p:extLst>
      <p:ext uri="{BB962C8B-B14F-4D97-AF65-F5344CB8AC3E}">
        <p14:creationId xmlns:p14="http://schemas.microsoft.com/office/powerpoint/2010/main" val="1298630109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i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 bwMode="auto">
          <a:xfrm>
            <a:off x="113" y="6312033"/>
            <a:ext cx="1215448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 userDrawn="1"/>
        </p:nvCxnSpPr>
        <p:spPr bwMode="auto">
          <a:xfrm>
            <a:off x="113" y="1275214"/>
            <a:ext cx="1215448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/>
          <p:nvPr userDrawn="1"/>
        </p:nvCxnSpPr>
        <p:spPr bwMode="auto">
          <a:xfrm>
            <a:off x="113" y="319281"/>
            <a:ext cx="1215448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 userDrawn="1"/>
        </p:nvCxnSpPr>
        <p:spPr bwMode="auto">
          <a:xfrm flipV="1">
            <a:off x="466173" y="0"/>
            <a:ext cx="0" cy="6840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/>
          <p:cNvCxnSpPr/>
          <p:nvPr userDrawn="1"/>
        </p:nvCxnSpPr>
        <p:spPr bwMode="auto">
          <a:xfrm flipV="1">
            <a:off x="11720655" y="0"/>
            <a:ext cx="0" cy="6840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/>
          <p:cNvCxnSpPr/>
          <p:nvPr userDrawn="1"/>
        </p:nvCxnSpPr>
        <p:spPr bwMode="auto">
          <a:xfrm>
            <a:off x="113" y="1023398"/>
            <a:ext cx="1215448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 userDrawn="1"/>
        </p:nvCxnSpPr>
        <p:spPr bwMode="auto">
          <a:xfrm>
            <a:off x="113" y="6377328"/>
            <a:ext cx="1215448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/>
          <p:cNvCxnSpPr/>
          <p:nvPr userDrawn="1"/>
        </p:nvCxnSpPr>
        <p:spPr bwMode="auto">
          <a:xfrm>
            <a:off x="113" y="6753409"/>
            <a:ext cx="1215448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tangle 9"/>
          <p:cNvSpPr/>
          <p:nvPr userDrawn="1"/>
        </p:nvSpPr>
        <p:spPr bwMode="auto">
          <a:xfrm>
            <a:off x="3028098" y="2495812"/>
            <a:ext cx="6135827" cy="186637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algn="ctr" defTabSz="1031234" fontAlgn="base" latinLnBrk="0">
              <a:spcAft>
                <a:spcPct val="0"/>
              </a:spcAft>
              <a:buClr>
                <a:srgbClr val="4F81BD"/>
              </a:buClr>
            </a:pPr>
            <a:r>
              <a:rPr kumimoji="1" lang="en-US" b="1" dirty="0">
                <a:solidFill>
                  <a:srgbClr val="FFFFFF"/>
                </a:solidFill>
                <a:ea typeface="굴림" pitchFamily="50" charset="-127"/>
                <a:cs typeface="Arial" pitchFamily="34" charset="0"/>
              </a:rPr>
              <a:t>USE THIS SLIDE TO RESET GUIDELINES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113" y="385333"/>
            <a:ext cx="1215448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 userDrawn="1"/>
        </p:nvCxnSpPr>
        <p:spPr bwMode="auto">
          <a:xfrm>
            <a:off x="113" y="1679485"/>
            <a:ext cx="1215448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TextBox 12"/>
          <p:cNvSpPr txBox="1"/>
          <p:nvPr userDrawn="1"/>
        </p:nvSpPr>
        <p:spPr bwMode="auto">
          <a:xfrm>
            <a:off x="453295" y="101642"/>
            <a:ext cx="2438400" cy="288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3132" tIns="51553" rIns="103132" bIns="51553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031234" fontAlgn="base" latinLnBrk="0">
              <a:spcAft>
                <a:spcPct val="0"/>
              </a:spcAft>
              <a:buClr>
                <a:srgbClr val="4F81BD"/>
              </a:buClr>
              <a:buFont typeface="Wingdings" pitchFamily="2" charset="2"/>
              <a:buNone/>
            </a:pPr>
            <a:r>
              <a:rPr lang="en-US" sz="1200" kern="0" dirty="0">
                <a:solidFill>
                  <a:srgbClr val="000000"/>
                </a:solidFill>
              </a:rPr>
              <a:t>Bottom of header</a:t>
            </a:r>
          </a:p>
        </p:txBody>
      </p:sp>
      <p:sp>
        <p:nvSpPr>
          <p:cNvPr id="15" name="TextBox 14"/>
          <p:cNvSpPr txBox="1"/>
          <p:nvPr userDrawn="1"/>
        </p:nvSpPr>
        <p:spPr bwMode="auto">
          <a:xfrm>
            <a:off x="453295" y="330246"/>
            <a:ext cx="2438400" cy="288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3132" tIns="51553" rIns="103132" bIns="51553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031234" fontAlgn="base" latinLnBrk="0">
              <a:spcAft>
                <a:spcPct val="0"/>
              </a:spcAft>
              <a:buClr>
                <a:srgbClr val="4F81BD"/>
              </a:buClr>
              <a:buFont typeface="Wingdings" pitchFamily="2" charset="2"/>
              <a:buNone/>
            </a:pPr>
            <a:r>
              <a:rPr lang="en-US" sz="1200" kern="0" dirty="0">
                <a:solidFill>
                  <a:srgbClr val="000000"/>
                </a:solidFill>
              </a:rPr>
              <a:t>Top of title</a:t>
            </a:r>
          </a:p>
        </p:txBody>
      </p:sp>
      <p:sp>
        <p:nvSpPr>
          <p:cNvPr id="16" name="TextBox 15"/>
          <p:cNvSpPr txBox="1"/>
          <p:nvPr userDrawn="1"/>
        </p:nvSpPr>
        <p:spPr bwMode="auto">
          <a:xfrm>
            <a:off x="453295" y="812847"/>
            <a:ext cx="2438400" cy="288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3132" tIns="51553" rIns="103132" bIns="51553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031234" fontAlgn="base" latinLnBrk="0">
              <a:spcAft>
                <a:spcPct val="0"/>
              </a:spcAft>
              <a:buClr>
                <a:srgbClr val="4F81BD"/>
              </a:buClr>
              <a:buFont typeface="Wingdings" pitchFamily="2" charset="2"/>
              <a:buNone/>
            </a:pPr>
            <a:r>
              <a:rPr lang="en-US" sz="1200" kern="0" dirty="0">
                <a:solidFill>
                  <a:srgbClr val="000000"/>
                </a:solidFill>
              </a:rPr>
              <a:t>Bottom of title</a:t>
            </a:r>
          </a:p>
        </p:txBody>
      </p:sp>
      <p:sp>
        <p:nvSpPr>
          <p:cNvPr id="17" name="TextBox 16"/>
          <p:cNvSpPr txBox="1"/>
          <p:nvPr userDrawn="1"/>
        </p:nvSpPr>
        <p:spPr bwMode="auto">
          <a:xfrm>
            <a:off x="453295" y="1219250"/>
            <a:ext cx="2438400" cy="288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3132" tIns="51553" rIns="103132" bIns="51553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031234" fontAlgn="base" latinLnBrk="0">
              <a:spcAft>
                <a:spcPct val="0"/>
              </a:spcAft>
              <a:buClr>
                <a:srgbClr val="4F81BD"/>
              </a:buClr>
              <a:buFont typeface="Wingdings" pitchFamily="2" charset="2"/>
              <a:buNone/>
            </a:pPr>
            <a:r>
              <a:rPr lang="en-US" sz="1200" kern="0" dirty="0">
                <a:solidFill>
                  <a:srgbClr val="000000"/>
                </a:solidFill>
              </a:rPr>
              <a:t>Top of subtitle</a:t>
            </a:r>
          </a:p>
        </p:txBody>
      </p:sp>
      <p:sp>
        <p:nvSpPr>
          <p:cNvPr id="18" name="TextBox 17"/>
          <p:cNvSpPr txBox="1"/>
          <p:nvPr userDrawn="1"/>
        </p:nvSpPr>
        <p:spPr bwMode="auto">
          <a:xfrm>
            <a:off x="453295" y="1473253"/>
            <a:ext cx="2438400" cy="288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3132" tIns="51553" rIns="103132" bIns="51553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031234" fontAlgn="base" latinLnBrk="0">
              <a:spcAft>
                <a:spcPct val="0"/>
              </a:spcAft>
              <a:buClr>
                <a:srgbClr val="4F81BD"/>
              </a:buClr>
              <a:buFont typeface="Wingdings" pitchFamily="2" charset="2"/>
              <a:buNone/>
            </a:pPr>
            <a:r>
              <a:rPr lang="en-US" sz="1200" kern="0" dirty="0">
                <a:solidFill>
                  <a:srgbClr val="000000"/>
                </a:solidFill>
              </a:rPr>
              <a:t>Bottom of subtitle</a:t>
            </a:r>
          </a:p>
        </p:txBody>
      </p:sp>
      <p:sp>
        <p:nvSpPr>
          <p:cNvPr id="19" name="TextBox 18"/>
          <p:cNvSpPr txBox="1"/>
          <p:nvPr userDrawn="1"/>
        </p:nvSpPr>
        <p:spPr bwMode="auto">
          <a:xfrm>
            <a:off x="453295" y="6083350"/>
            <a:ext cx="2438400" cy="288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3132" tIns="51553" rIns="103132" bIns="51553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031234" fontAlgn="base" latinLnBrk="0">
              <a:spcAft>
                <a:spcPct val="0"/>
              </a:spcAft>
              <a:buClr>
                <a:srgbClr val="4F81BD"/>
              </a:buClr>
              <a:buFont typeface="Wingdings" pitchFamily="2" charset="2"/>
              <a:buNone/>
            </a:pPr>
            <a:r>
              <a:rPr lang="en-US" sz="1200" kern="0" dirty="0">
                <a:solidFill>
                  <a:srgbClr val="000000"/>
                </a:solidFill>
              </a:rPr>
              <a:t>Bottom of text box</a:t>
            </a:r>
          </a:p>
        </p:txBody>
      </p:sp>
      <p:sp>
        <p:nvSpPr>
          <p:cNvPr id="20" name="TextBox 19"/>
          <p:cNvSpPr txBox="1"/>
          <p:nvPr userDrawn="1"/>
        </p:nvSpPr>
        <p:spPr bwMode="auto">
          <a:xfrm>
            <a:off x="453295" y="6311950"/>
            <a:ext cx="2438400" cy="288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3132" tIns="51553" rIns="103132" bIns="51553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031234" fontAlgn="base" latinLnBrk="0">
              <a:spcAft>
                <a:spcPct val="0"/>
              </a:spcAft>
              <a:buClr>
                <a:srgbClr val="4F81BD"/>
              </a:buClr>
              <a:buFont typeface="Wingdings" pitchFamily="2" charset="2"/>
              <a:buNone/>
            </a:pPr>
            <a:r>
              <a:rPr lang="en-US" sz="1200" kern="0" dirty="0">
                <a:solidFill>
                  <a:srgbClr val="000000"/>
                </a:solidFill>
              </a:rPr>
              <a:t>Top of sources and footnotes</a:t>
            </a:r>
          </a:p>
        </p:txBody>
      </p:sp>
      <p:sp>
        <p:nvSpPr>
          <p:cNvPr id="23" name="TextBox 22"/>
          <p:cNvSpPr txBox="1"/>
          <p:nvPr userDrawn="1"/>
        </p:nvSpPr>
        <p:spPr bwMode="auto">
          <a:xfrm>
            <a:off x="453295" y="6548330"/>
            <a:ext cx="2792472" cy="288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3132" tIns="51553" rIns="103132" bIns="51553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1031234" fontAlgn="base" latinLnBrk="0">
              <a:spcAft>
                <a:spcPct val="0"/>
              </a:spcAft>
              <a:buClr>
                <a:srgbClr val="4F81BD"/>
              </a:buClr>
              <a:buFont typeface="Wingdings" pitchFamily="2" charset="2"/>
              <a:buNone/>
            </a:pPr>
            <a:r>
              <a:rPr lang="en-US" sz="1200" kern="0" dirty="0">
                <a:solidFill>
                  <a:srgbClr val="000000"/>
                </a:solidFill>
              </a:rPr>
              <a:t>Bottom of sources and footnotes</a:t>
            </a:r>
          </a:p>
        </p:txBody>
      </p:sp>
      <p:sp>
        <p:nvSpPr>
          <p:cNvPr id="25" name="TextBox 24"/>
          <p:cNvSpPr txBox="1"/>
          <p:nvPr userDrawn="1"/>
        </p:nvSpPr>
        <p:spPr bwMode="auto">
          <a:xfrm rot="16200000">
            <a:off x="-364940" y="3648814"/>
            <a:ext cx="1981200" cy="289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3132" tIns="51553" rIns="103132" bIns="51553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1031234" fontAlgn="base" latinLnBrk="0">
              <a:spcAft>
                <a:spcPct val="0"/>
              </a:spcAft>
              <a:buClr>
                <a:srgbClr val="4F81BD"/>
              </a:buClr>
              <a:buFont typeface="Wingdings" pitchFamily="2" charset="2"/>
              <a:buNone/>
            </a:pPr>
            <a:r>
              <a:rPr lang="en-US" sz="1200" kern="0" dirty="0">
                <a:solidFill>
                  <a:srgbClr val="000000"/>
                </a:solidFill>
              </a:rPr>
              <a:t>Left limit</a:t>
            </a:r>
          </a:p>
        </p:txBody>
      </p:sp>
      <p:sp>
        <p:nvSpPr>
          <p:cNvPr id="26" name="TextBox 25"/>
          <p:cNvSpPr txBox="1"/>
          <p:nvPr userDrawn="1"/>
        </p:nvSpPr>
        <p:spPr bwMode="auto">
          <a:xfrm rot="5400000">
            <a:off x="10527995" y="3648814"/>
            <a:ext cx="1981200" cy="289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3132" tIns="51553" rIns="103132" bIns="51553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1031234" fontAlgn="base" latinLnBrk="0">
              <a:spcAft>
                <a:spcPct val="0"/>
              </a:spcAft>
              <a:buClr>
                <a:srgbClr val="4F81BD"/>
              </a:buClr>
              <a:buFont typeface="Wingdings" pitchFamily="2" charset="2"/>
              <a:buNone/>
            </a:pPr>
            <a:r>
              <a:rPr lang="en-US" sz="1200" kern="0" dirty="0">
                <a:solidFill>
                  <a:srgbClr val="000000"/>
                </a:solidFill>
              </a:rPr>
              <a:t>Right limit</a:t>
            </a:r>
          </a:p>
        </p:txBody>
      </p:sp>
    </p:spTree>
    <p:extLst>
      <p:ext uri="{BB962C8B-B14F-4D97-AF65-F5344CB8AC3E}">
        <p14:creationId xmlns:p14="http://schemas.microsoft.com/office/powerpoint/2010/main" val="2724644083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27" y="365156"/>
            <a:ext cx="10515600" cy="1325563"/>
          </a:xfrm>
          <a:prstGeom prst="rect">
            <a:avLst/>
          </a:prstGeom>
        </p:spPr>
        <p:txBody>
          <a:bodyPr lIns="91278" tIns="45639" rIns="91278" bIns="45639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27" y="1825625"/>
            <a:ext cx="10515600" cy="4351338"/>
          </a:xfrm>
          <a:prstGeom prst="rect">
            <a:avLst/>
          </a:prstGeom>
        </p:spPr>
        <p:txBody>
          <a:bodyPr lIns="91278" tIns="45639" rIns="91278" bIns="45639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27" y="6356388"/>
            <a:ext cx="2743200" cy="365125"/>
          </a:xfrm>
          <a:prstGeom prst="rect">
            <a:avLst/>
          </a:prstGeom>
        </p:spPr>
        <p:txBody>
          <a:bodyPr lIns="91278" tIns="45639" rIns="91278" bIns="45639"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56388"/>
            <a:ext cx="4114800" cy="365125"/>
          </a:xfrm>
          <a:prstGeom prst="rect">
            <a:avLst/>
          </a:prstGeom>
        </p:spPr>
        <p:txBody>
          <a:bodyPr lIns="91278" tIns="45639" rIns="91278" bIns="45639"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88"/>
            <a:ext cx="2743200" cy="365125"/>
          </a:xfrm>
          <a:prstGeom prst="rect">
            <a:avLst/>
          </a:prstGeom>
        </p:spPr>
        <p:txBody>
          <a:bodyPr lIns="91278" tIns="45639" rIns="91278" bIns="45639"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7609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58272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lIns="107924" tIns="53961" rIns="107924" bIns="53961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2F030C-4232-42CD-8209-74B788BD690C}" type="datetime1">
              <a:rPr lang="ko-KR" altLang="en-US" smtClean="0"/>
              <a:pPr>
                <a:defRPr/>
              </a:pPr>
              <a:t>2019-03-27</a:t>
            </a:fld>
            <a:endParaRPr lang="ko-KR" altLang="en-US"/>
          </a:p>
        </p:txBody>
      </p:sp>
      <p:sp>
        <p:nvSpPr>
          <p:cNvPr id="4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lIns="107924" tIns="53961" rIns="107924" bIns="53961"/>
          <a:lstStyle>
            <a:lvl1pPr>
              <a:defRPr/>
            </a:lvl1pPr>
          </a:lstStyle>
          <a:p>
            <a:pPr defTabSz="913354" fontAlgn="base" latinLnBrk="0">
              <a:spcBef>
                <a:spcPct val="0"/>
              </a:spcBef>
              <a:spcAft>
                <a:spcPct val="0"/>
              </a:spcAft>
              <a:defRPr/>
            </a:pPr>
            <a:fld id="{D25D43FD-6212-4C5C-A1AA-455314EA1BB5}" type="slidenum">
              <a:rPr kumimoji="1" lang="ko-KR" altLang="en-US" sz="1900" smtClean="0">
                <a:solidFill>
                  <a:prstClr val="black"/>
                </a:solidFill>
                <a:latin typeface="굴림" pitchFamily="34" charset="-127"/>
                <a:ea typeface="굴림" pitchFamily="34" charset="-127"/>
              </a:rPr>
              <a:pPr defTabSz="913354" fontAlgn="base" latinLnBrk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ko-KR" altLang="en-US" sz="1900">
              <a:solidFill>
                <a:prstClr val="black"/>
              </a:solidFill>
              <a:latin typeface="굴림" pitchFamily="34" charset="-127"/>
              <a:ea typeface="굴림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89535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5000643"/>
              </p:ext>
            </p:extLst>
          </p:nvPr>
        </p:nvGraphicFramePr>
        <p:xfrm>
          <a:off x="2119" y="1992"/>
          <a:ext cx="2116" cy="19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992"/>
                        <a:ext cx="2116" cy="19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</p:spTree>
    <p:extLst>
      <p:ext uri="{BB962C8B-B14F-4D97-AF65-F5344CB8AC3E}">
        <p14:creationId xmlns:p14="http://schemas.microsoft.com/office/powerpoint/2010/main" val="4058908645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lIns="126602" tIns="63317" rIns="126602" bIns="63317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3B617CE0-F7A4-4AC7-9EA1-AF0268CDB031}" type="datetimeFigureOut">
              <a:rPr lang="ko-KR" altLang="en-US" smtClean="0"/>
              <a:pPr/>
              <a:t>2019-03-2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lIns="126602" tIns="63317" rIns="126602" bIns="63317"/>
          <a:lstStyle/>
          <a:p>
            <a:pPr defTabSz="913354" fontAlgn="base" latinLnBrk="0">
              <a:spcBef>
                <a:spcPct val="0"/>
              </a:spcBef>
              <a:spcAft>
                <a:spcPct val="0"/>
              </a:spcAft>
            </a:pPr>
            <a:fld id="{0659E4D1-3733-420B-9A32-826207768EC9}" type="slidenum">
              <a:rPr kumimoji="1" lang="ko-KR" altLang="en-US" sz="1900" smtClean="0">
                <a:solidFill>
                  <a:prstClr val="black"/>
                </a:solidFill>
                <a:latin typeface="굴림" pitchFamily="34" charset="-127"/>
                <a:ea typeface="굴림" pitchFamily="34" charset="-127"/>
              </a:rPr>
              <a:pPr defTabSz="913354"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1" lang="ko-KR" altLang="en-US" sz="1900">
              <a:solidFill>
                <a:prstClr val="black"/>
              </a:solidFill>
              <a:latin typeface="굴림" pitchFamily="34" charset="-127"/>
              <a:ea typeface="굴림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914519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73"/>
            <a:ext cx="9144000" cy="1655763"/>
          </a:xfrm>
        </p:spPr>
        <p:txBody>
          <a:bodyPr/>
          <a:lstStyle>
            <a:lvl1pPr marL="0" indent="0" algn="ctr">
              <a:buNone/>
              <a:defRPr sz="2300"/>
            </a:lvl1pPr>
            <a:lvl2pPr marL="454309" indent="0" algn="ctr">
              <a:buNone/>
              <a:defRPr sz="2000"/>
            </a:lvl2pPr>
            <a:lvl3pPr marL="908666" indent="0" algn="ctr">
              <a:buNone/>
              <a:defRPr sz="1800"/>
            </a:lvl3pPr>
            <a:lvl4pPr marL="1363012" indent="0" algn="ctr">
              <a:buNone/>
              <a:defRPr sz="1600"/>
            </a:lvl4pPr>
            <a:lvl5pPr marL="1817363" indent="0" algn="ctr">
              <a:buNone/>
              <a:defRPr sz="1600"/>
            </a:lvl5pPr>
            <a:lvl6pPr marL="2271688" indent="0" algn="ctr">
              <a:buNone/>
              <a:defRPr sz="1600"/>
            </a:lvl6pPr>
            <a:lvl7pPr marL="2726022" indent="0" algn="ctr">
              <a:buNone/>
              <a:defRPr sz="1600"/>
            </a:lvl7pPr>
            <a:lvl8pPr marL="3180368" indent="0" algn="ctr">
              <a:buNone/>
              <a:defRPr sz="1600"/>
            </a:lvl8pPr>
            <a:lvl9pPr marL="3634719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3236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7947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78" y="1709766"/>
            <a:ext cx="10515600" cy="2852738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78" y="4589464"/>
            <a:ext cx="10515600" cy="1500188"/>
          </a:xfrm>
        </p:spPr>
        <p:txBody>
          <a:bodyPr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4543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0866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30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173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168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260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803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347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1567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1335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15" y="365156"/>
            <a:ext cx="10515600" cy="1325563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816" y="1681191"/>
            <a:ext cx="5157787" cy="823913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4309" indent="0">
              <a:buNone/>
              <a:defRPr sz="2000" b="1"/>
            </a:lvl2pPr>
            <a:lvl3pPr marL="908666" indent="0">
              <a:buNone/>
              <a:defRPr sz="1800" b="1"/>
            </a:lvl3pPr>
            <a:lvl4pPr marL="1363012" indent="0">
              <a:buNone/>
              <a:defRPr sz="1600" b="1"/>
            </a:lvl4pPr>
            <a:lvl5pPr marL="1817363" indent="0">
              <a:buNone/>
              <a:defRPr sz="1600" b="1"/>
            </a:lvl5pPr>
            <a:lvl6pPr marL="2271688" indent="0">
              <a:buNone/>
              <a:defRPr sz="1600" b="1"/>
            </a:lvl6pPr>
            <a:lvl7pPr marL="2726022" indent="0">
              <a:buNone/>
              <a:defRPr sz="1600" b="1"/>
            </a:lvl7pPr>
            <a:lvl8pPr marL="3180368" indent="0">
              <a:buNone/>
              <a:defRPr sz="1600" b="1"/>
            </a:lvl8pPr>
            <a:lvl9pPr marL="3634719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816" y="2505102"/>
            <a:ext cx="5157787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30" y="1681191"/>
            <a:ext cx="5183188" cy="823913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54309" indent="0">
              <a:buNone/>
              <a:defRPr sz="2000" b="1"/>
            </a:lvl2pPr>
            <a:lvl3pPr marL="908666" indent="0">
              <a:buNone/>
              <a:defRPr sz="1800" b="1"/>
            </a:lvl3pPr>
            <a:lvl4pPr marL="1363012" indent="0">
              <a:buNone/>
              <a:defRPr sz="1600" b="1"/>
            </a:lvl4pPr>
            <a:lvl5pPr marL="1817363" indent="0">
              <a:buNone/>
              <a:defRPr sz="1600" b="1"/>
            </a:lvl5pPr>
            <a:lvl6pPr marL="2271688" indent="0">
              <a:buNone/>
              <a:defRPr sz="1600" b="1"/>
            </a:lvl6pPr>
            <a:lvl7pPr marL="2726022" indent="0">
              <a:buNone/>
              <a:defRPr sz="1600" b="1"/>
            </a:lvl7pPr>
            <a:lvl8pPr marL="3180368" indent="0">
              <a:buNone/>
              <a:defRPr sz="1600" b="1"/>
            </a:lvl8pPr>
            <a:lvl9pPr marL="3634719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30" y="2505102"/>
            <a:ext cx="5183188" cy="3684588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1715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1501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71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24" y="457227"/>
            <a:ext cx="3932237" cy="1600200"/>
          </a:xfrm>
        </p:spPr>
        <p:txBody>
          <a:bodyPr anchor="b"/>
          <a:lstStyle>
            <a:lvl1pPr>
              <a:defRPr sz="33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4"/>
            <a:ext cx="6172200" cy="4873625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24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4309" indent="0">
              <a:buNone/>
              <a:defRPr sz="1400"/>
            </a:lvl2pPr>
            <a:lvl3pPr marL="908666" indent="0">
              <a:buNone/>
              <a:defRPr sz="1200"/>
            </a:lvl3pPr>
            <a:lvl4pPr marL="1363012" indent="0">
              <a:buNone/>
              <a:defRPr sz="1000"/>
            </a:lvl4pPr>
            <a:lvl5pPr marL="1817363" indent="0">
              <a:buNone/>
              <a:defRPr sz="1000"/>
            </a:lvl5pPr>
            <a:lvl6pPr marL="2271688" indent="0">
              <a:buNone/>
              <a:defRPr sz="1000"/>
            </a:lvl6pPr>
            <a:lvl7pPr marL="2726022" indent="0">
              <a:buNone/>
              <a:defRPr sz="1000"/>
            </a:lvl7pPr>
            <a:lvl8pPr marL="3180368" indent="0">
              <a:buNone/>
              <a:defRPr sz="1000"/>
            </a:lvl8pPr>
            <a:lvl9pPr marL="3634719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86166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824" y="457227"/>
            <a:ext cx="3932237" cy="1600200"/>
          </a:xfrm>
        </p:spPr>
        <p:txBody>
          <a:bodyPr anchor="b"/>
          <a:lstStyle>
            <a:lvl1pPr>
              <a:defRPr sz="3300"/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34"/>
            <a:ext cx="6172200" cy="4873625"/>
          </a:xfrm>
        </p:spPr>
        <p:txBody>
          <a:bodyPr anchor="t"/>
          <a:lstStyle>
            <a:lvl1pPr marL="0" indent="0">
              <a:buNone/>
              <a:defRPr sz="3300"/>
            </a:lvl1pPr>
            <a:lvl2pPr marL="454309" indent="0">
              <a:buNone/>
              <a:defRPr sz="2900"/>
            </a:lvl2pPr>
            <a:lvl3pPr marL="908666" indent="0">
              <a:buNone/>
              <a:defRPr sz="2300"/>
            </a:lvl3pPr>
            <a:lvl4pPr marL="1363012" indent="0">
              <a:buNone/>
              <a:defRPr sz="2000"/>
            </a:lvl4pPr>
            <a:lvl5pPr marL="1817363" indent="0">
              <a:buNone/>
              <a:defRPr sz="2000"/>
            </a:lvl5pPr>
            <a:lvl6pPr marL="2271688" indent="0">
              <a:buNone/>
              <a:defRPr sz="2000"/>
            </a:lvl6pPr>
            <a:lvl7pPr marL="2726022" indent="0">
              <a:buNone/>
              <a:defRPr sz="2000"/>
            </a:lvl7pPr>
            <a:lvl8pPr marL="3180368" indent="0">
              <a:buNone/>
              <a:defRPr sz="2000"/>
            </a:lvl8pPr>
            <a:lvl9pPr marL="3634719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824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4309" indent="0">
              <a:buNone/>
              <a:defRPr sz="1400"/>
            </a:lvl2pPr>
            <a:lvl3pPr marL="908666" indent="0">
              <a:buNone/>
              <a:defRPr sz="1200"/>
            </a:lvl3pPr>
            <a:lvl4pPr marL="1363012" indent="0">
              <a:buNone/>
              <a:defRPr sz="1000"/>
            </a:lvl4pPr>
            <a:lvl5pPr marL="1817363" indent="0">
              <a:buNone/>
              <a:defRPr sz="1000"/>
            </a:lvl5pPr>
            <a:lvl6pPr marL="2271688" indent="0">
              <a:buNone/>
              <a:defRPr sz="1000"/>
            </a:lvl6pPr>
            <a:lvl7pPr marL="2726022" indent="0">
              <a:buNone/>
              <a:defRPr sz="1000"/>
            </a:lvl7pPr>
            <a:lvl8pPr marL="3180368" indent="0">
              <a:buNone/>
              <a:defRPr sz="1000"/>
            </a:lvl8pPr>
            <a:lvl9pPr marL="3634719" indent="0">
              <a:buNone/>
              <a:defRPr sz="1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7346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2"/>
          <p:cNvSpPr>
            <a:spLocks noGrp="1"/>
          </p:cNvSpPr>
          <p:nvPr>
            <p:ph sz="quarter" idx="11" hasCustomPrompt="1"/>
          </p:nvPr>
        </p:nvSpPr>
        <p:spPr>
          <a:xfrm>
            <a:off x="2713379" y="2946748"/>
            <a:ext cx="8941657" cy="964506"/>
          </a:xfrm>
          <a:prstGeom prst="rect">
            <a:avLst/>
          </a:prstGeom>
        </p:spPr>
        <p:txBody>
          <a:bodyPr lIns="103132" tIns="51553" rIns="103132" bIns="51553" anchor="b" anchorCtr="0"/>
          <a:lstStyle>
            <a:lvl1pPr marL="0" indent="0">
              <a:spcBef>
                <a:spcPts val="0"/>
              </a:spcBef>
              <a:buNone/>
              <a:defRPr sz="36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48301" y="2990888"/>
            <a:ext cx="832808" cy="859536"/>
          </a:xfrm>
          <a:prstGeom prst="rect">
            <a:avLst/>
          </a:prstGeom>
        </p:spPr>
        <p:txBody>
          <a:bodyPr lIns="103132" tIns="51553" rIns="103132" bIns="51553"/>
          <a:lstStyle>
            <a:lvl1pPr>
              <a:buNone/>
              <a:defRPr lang="en-US" altLang="en-US" sz="8200" b="1" dirty="0">
                <a:solidFill>
                  <a:schemeClr val="bg1"/>
                </a:solidFill>
                <a:latin typeface="Century Gothic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191527" lvl="0" indent="-191527" algn="l" rtl="0" fontAlgn="base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Font typeface="Wingdings" pitchFamily="2" charset="2"/>
              <a:buNone/>
            </a:pPr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824732807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7747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7877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13" y="1276353"/>
            <a:ext cx="11197883" cy="5038344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9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398891" y="397669"/>
            <a:ext cx="228600" cy="61885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</p:spTree>
    <p:extLst>
      <p:ext uri="{BB962C8B-B14F-4D97-AF65-F5344CB8AC3E}">
        <p14:creationId xmlns:p14="http://schemas.microsoft.com/office/powerpoint/2010/main" val="297670586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akea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13" y="1276353"/>
            <a:ext cx="11197883" cy="4306824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9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9" name="Text Box 4"/>
          <p:cNvSpPr txBox="1">
            <a:spLocks noChangeArrowheads="1"/>
          </p:cNvSpPr>
          <p:nvPr userDrawn="1"/>
        </p:nvSpPr>
        <p:spPr bwMode="gray">
          <a:xfrm>
            <a:off x="3" y="5695962"/>
            <a:ext cx="12192000" cy="61912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2513" y="5687644"/>
            <a:ext cx="11197883" cy="62179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marR="0" indent="-206264" algn="l" defTabSz="1031234" rtl="0" eaLnBrk="1" fontAlgn="base" latinLnBrk="0" hangingPunct="1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Tx/>
              <a:buSzTx/>
              <a:buNone/>
              <a:tabLst/>
              <a:defRPr lang="en-US" altLang="en-US" sz="2100" b="1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akeaway box- no more than 2 lines</a:t>
            </a:r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74133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13" y="1724590"/>
            <a:ext cx="11197883" cy="459028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462513" y="1276363"/>
            <a:ext cx="1119788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218502610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w/ takeaw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13" y="1724590"/>
            <a:ext cx="11197883" cy="3921468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9" name="Text Box 4"/>
          <p:cNvSpPr txBox="1">
            <a:spLocks noChangeArrowheads="1"/>
          </p:cNvSpPr>
          <p:nvPr userDrawn="1"/>
        </p:nvSpPr>
        <p:spPr bwMode="gray">
          <a:xfrm>
            <a:off x="3" y="5695962"/>
            <a:ext cx="12192000" cy="619125"/>
          </a:xfrm>
          <a:prstGeom prst="rect">
            <a:avLst/>
          </a:prstGeom>
          <a:solidFill>
            <a:schemeClr val="accent1"/>
          </a:solidFill>
          <a:ln w="6350" algn="ctr">
            <a:noFill/>
            <a:miter lim="800000"/>
            <a:headEnd/>
            <a:tailEnd/>
          </a:ln>
          <a:effectLst/>
          <a:extLst/>
        </p:spPr>
        <p:txBody>
          <a:bodyPr wrap="square" lIns="284237" tIns="81210" rIns="284237" bIns="81210" anchor="ctr" anchorCtr="0">
            <a:noAutofit/>
          </a:bodyPr>
          <a:lstStyle/>
          <a:p>
            <a:pPr defTabSz="1031234" eaLnBrk="0" latinLnBrk="0" hangingPunct="0">
              <a:lnSpc>
                <a:spcPct val="90000"/>
              </a:lnSpc>
            </a:pPr>
            <a:endParaRPr lang="en-US" sz="21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62513" y="5687644"/>
            <a:ext cx="11197883" cy="621793"/>
          </a:xfrm>
          <a:prstGeom prst="rect">
            <a:avLst/>
          </a:prstGeom>
        </p:spPr>
        <p:txBody>
          <a:bodyPr lIns="0" tIns="51553" rIns="103132" bIns="51553" anchor="ctr" anchorCtr="0"/>
          <a:lstStyle>
            <a:lvl1pPr marL="0" marR="0" indent="-206264" algn="l" defTabSz="1031234" rtl="0" eaLnBrk="1" fontAlgn="base" latinLnBrk="0" hangingPunct="1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Tx/>
              <a:buSzTx/>
              <a:buNone/>
              <a:tabLst/>
              <a:defRPr lang="en-US" altLang="en-US" sz="2100" b="1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Takeaway box- no more than 2 lines</a:t>
            </a:r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462513" y="1276363"/>
            <a:ext cx="1119788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27336338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62535" y="1728596"/>
            <a:ext cx="5401993" cy="457200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 baseline="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254645" y="1728596"/>
            <a:ext cx="5401993" cy="4572000"/>
          </a:xfrm>
          <a:prstGeom prst="rect">
            <a:avLst/>
          </a:prstGeom>
        </p:spPr>
        <p:txBody>
          <a:bodyPr lIns="0" tIns="51553" rIns="103132" bIns="51553"/>
          <a:lstStyle>
            <a:lvl1pPr marL="20626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sz="1600"/>
            </a:lvl1pPr>
            <a:lvl2pPr marL="412521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Pct val="100000"/>
              <a:buFont typeface="Arial" pitchFamily="34" charset="0"/>
              <a:buChar char="-"/>
              <a:defRPr lang="en-US" altLang="en-US" sz="16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18760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Char char="•"/>
              <a:defRPr sz="1600"/>
            </a:lvl3pPr>
            <a:lvl4pPr marL="824999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Char char="§"/>
              <a:defRPr sz="1600"/>
            </a:lvl4pPr>
            <a:lvl5pPr marL="1031234" indent="-206264">
              <a:lnSpc>
                <a:spcPct val="100000"/>
              </a:lnSpc>
              <a:spcBef>
                <a:spcPts val="341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itle 15"/>
          <p:cNvSpPr>
            <a:spLocks noGrp="1"/>
          </p:cNvSpPr>
          <p:nvPr>
            <p:ph type="title" hasCustomPrompt="1"/>
          </p:nvPr>
        </p:nvSpPr>
        <p:spPr>
          <a:xfrm>
            <a:off x="740108" y="358628"/>
            <a:ext cx="10916529" cy="655986"/>
          </a:xfrm>
          <a:prstGeom prst="rect">
            <a:avLst/>
          </a:prstGeom>
        </p:spPr>
        <p:txBody>
          <a:bodyPr lIns="0" tIns="0" rIns="103132" bIns="51553"/>
          <a:lstStyle>
            <a:lvl1pPr marL="0" marR="0" indent="0" defTabSz="103123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kumimoji="0" lang="en-US" altLang="en-US" sz="2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en-US" dirty="0"/>
              <a:t>Title - no more than 2 lines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62513" y="62637"/>
            <a:ext cx="11197883" cy="237744"/>
          </a:xfrm>
          <a:prstGeom prst="rect">
            <a:avLst/>
          </a:prstGeom>
        </p:spPr>
        <p:txBody>
          <a:bodyPr lIns="0" tIns="51553" rIns="103132" bIns="51553"/>
          <a:lstStyle>
            <a:lvl1pPr marL="0" indent="0">
              <a:spcBef>
                <a:spcPts val="0"/>
              </a:spcBef>
              <a:buNone/>
              <a:defRPr sz="1300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Running header]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462513" y="6363221"/>
            <a:ext cx="11197883" cy="365760"/>
          </a:xfrm>
          <a:prstGeom prst="rect">
            <a:avLst/>
          </a:prstGeom>
        </p:spPr>
        <p:txBody>
          <a:bodyPr lIns="0" tIns="51553" rIns="103132" bIns="0" anchor="b" anchorCtr="0"/>
          <a:lstStyle>
            <a:lvl1pPr marL="0" indent="0">
              <a:spcBef>
                <a:spcPts val="0"/>
              </a:spcBef>
              <a:buNone/>
              <a:defRPr sz="1000" i="0" baseline="0">
                <a:solidFill>
                  <a:schemeClr val="tx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[Sources and footnotes]</a:t>
            </a: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462509" y="397669"/>
            <a:ext cx="112541" cy="6188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rtlCol="0" anchor="ctr" anchorCtr="0" compatLnSpc="1">
            <a:prstTxWarp prst="textNoShape">
              <a:avLst/>
            </a:prstTxWarp>
          </a:bodyPr>
          <a:lstStyle/>
          <a:p>
            <a:pPr marL="202316" indent="-202316" defTabSz="1031234" fontAlgn="base" latinLnBrk="0">
              <a:spcBef>
                <a:spcPct val="50000"/>
              </a:spcBef>
              <a:spcAft>
                <a:spcPct val="0"/>
              </a:spcAft>
              <a:buClr>
                <a:srgbClr val="4F81BD"/>
              </a:buClr>
              <a:buFont typeface="Wingdings" pitchFamily="2" charset="2"/>
              <a:buChar char="§"/>
            </a:pPr>
            <a:endParaRPr kumimoji="1" lang="en-US" dirty="0" err="1">
              <a:solidFill>
                <a:srgbClr val="000000"/>
              </a:solidFill>
              <a:ea typeface="굴림" pitchFamily="50" charset="-127"/>
              <a:cs typeface="Arial" pitchFamily="34" charset="0"/>
            </a:endParaRPr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46253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  <p:sp>
        <p:nvSpPr>
          <p:cNvPr id="26" name="Text Placehold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6254645" y="1276363"/>
            <a:ext cx="5401993" cy="393193"/>
          </a:xfrm>
          <a:prstGeom prst="rect">
            <a:avLst/>
          </a:prstGeom>
        </p:spPr>
        <p:txBody>
          <a:bodyPr lIns="0" tIns="51553" rIns="103132" bIns="51553" anchor="b"/>
          <a:lstStyle>
            <a:lvl1pPr marL="0" marR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en-US" sz="1800" b="1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1031234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btitle - no more than 1 line</a:t>
            </a:r>
          </a:p>
        </p:txBody>
      </p:sp>
    </p:spTree>
    <p:extLst>
      <p:ext uri="{BB962C8B-B14F-4D97-AF65-F5344CB8AC3E}">
        <p14:creationId xmlns:p14="http://schemas.microsoft.com/office/powerpoint/2010/main" val="342185483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6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527481834"/>
              </p:ext>
            </p:extLst>
          </p:nvPr>
        </p:nvGraphicFramePr>
        <p:xfrm>
          <a:off x="2015" y="1589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22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015" y="1589"/>
                        <a:ext cx="195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3884" b="-18217"/>
          <a:stretch/>
        </p:blipFill>
        <p:spPr>
          <a:xfrm rot="5400000">
            <a:off x="11127499" y="717903"/>
            <a:ext cx="1645920" cy="42828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11551251" y="5"/>
            <a:ext cx="613463" cy="17549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132" tIns="51553" rIns="103132" bIns="51553" numCol="1" spcCol="0" rtlCol="0" anchor="ctr" anchorCtr="0" compatLnSpc="1">
            <a:prstTxWarp prst="textNoShape">
              <a:avLst/>
            </a:prstTxWarp>
          </a:bodyPr>
          <a:lstStyle/>
          <a:p>
            <a:pPr algn="ctr" defTabSz="1031234" fontAlgn="base" latinLnBrk="0">
              <a:spcAft>
                <a:spcPts val="682"/>
              </a:spcAft>
              <a:buClr>
                <a:srgbClr val="4F81BD"/>
              </a:buClr>
            </a:pPr>
            <a:endParaRPr kumimoji="1" lang="ko-KR" altLang="en-US" sz="1600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470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0" r:id="rId1"/>
    <p:sldLayoutId id="2147485071" r:id="rId2"/>
    <p:sldLayoutId id="2147485072" r:id="rId3"/>
    <p:sldLayoutId id="2147485073" r:id="rId4"/>
    <p:sldLayoutId id="2147485074" r:id="rId5"/>
    <p:sldLayoutId id="2147485075" r:id="rId6"/>
    <p:sldLayoutId id="2147485076" r:id="rId7"/>
    <p:sldLayoutId id="2147485077" r:id="rId8"/>
    <p:sldLayoutId id="2147485078" r:id="rId9"/>
    <p:sldLayoutId id="2147485079" r:id="rId10"/>
    <p:sldLayoutId id="2147485080" r:id="rId11"/>
    <p:sldLayoutId id="2147485081" r:id="rId12"/>
    <p:sldLayoutId id="2147485082" r:id="rId13"/>
    <p:sldLayoutId id="2147485083" r:id="rId14"/>
    <p:sldLayoutId id="2147485084" r:id="rId15"/>
    <p:sldLayoutId id="2147485085" r:id="rId16"/>
    <p:sldLayoutId id="2147485086" r:id="rId17"/>
    <p:sldLayoutId id="2147485087" r:id="rId18"/>
    <p:sldLayoutId id="2147485088" r:id="rId19"/>
    <p:sldLayoutId id="2147485089" r:id="rId20"/>
    <p:sldLayoutId id="2147485090" r:id="rId21"/>
    <p:sldLayoutId id="2147485091" r:id="rId22"/>
    <p:sldLayoutId id="2147485092" r:id="rId23"/>
    <p:sldLayoutId id="2147485093" r:id="rId24"/>
    <p:sldLayoutId id="2147485094" r:id="rId25"/>
    <p:sldLayoutId id="2147485095" r:id="rId26"/>
    <p:sldLayoutId id="2147485115" r:id="rId27"/>
  </p:sldLayoutIdLst>
  <p:transition/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altLang="en-US" sz="1800" b="1" dirty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515625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</a:defRPr>
      </a:lvl6pPr>
      <a:lvl7pPr marL="10312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</a:defRPr>
      </a:lvl7pPr>
      <a:lvl8pPr marL="1546882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</a:defRPr>
      </a:lvl8pPr>
      <a:lvl9pPr marL="20624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</a:defRPr>
      </a:lvl9pPr>
    </p:titleStyle>
    <p:bodyStyle>
      <a:lvl1pPr marL="191527" indent="-191527" algn="l" rtl="0" eaLnBrk="1" fontAlgn="base" hangingPunct="1">
        <a:spcBef>
          <a:spcPct val="20000"/>
        </a:spcBef>
        <a:spcAft>
          <a:spcPct val="0"/>
        </a:spcAft>
        <a:buClr>
          <a:srgbClr val="002060"/>
        </a:buClr>
        <a:buFont typeface="Wingdings" pitchFamily="2" charset="2"/>
        <a:buChar char="§"/>
        <a:defRPr lang="en-US" altLang="en-US" sz="18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92055" indent="-195126" algn="l" rtl="0" eaLnBrk="1" fontAlgn="base" hangingPunct="1">
        <a:spcBef>
          <a:spcPct val="20000"/>
        </a:spcBef>
        <a:spcAft>
          <a:spcPct val="0"/>
        </a:spcAft>
        <a:buClr>
          <a:srgbClr val="002060"/>
        </a:buClr>
        <a:buFont typeface="Wingdings" pitchFamily="2" charset="2"/>
        <a:buChar char="§"/>
        <a:defRPr lang="en-US" altLang="en-US" sz="16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72920" indent="-180819" algn="l" rtl="0" eaLnBrk="1" fontAlgn="base" hangingPunct="1">
        <a:spcBef>
          <a:spcPct val="20000"/>
        </a:spcBef>
        <a:spcAft>
          <a:spcPct val="0"/>
        </a:spcAft>
        <a:buClr>
          <a:srgbClr val="002060"/>
        </a:buClr>
        <a:buFont typeface="Wingdings" pitchFamily="2" charset="2"/>
        <a:buChar char="§"/>
        <a:defRPr lang="en-US" altLang="en-US" sz="16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69846" indent="-196923" algn="l" rtl="0" eaLnBrk="1" fontAlgn="base" hangingPunct="1">
        <a:spcBef>
          <a:spcPct val="20000"/>
        </a:spcBef>
        <a:spcAft>
          <a:spcPct val="0"/>
        </a:spcAft>
        <a:buClr>
          <a:srgbClr val="002060"/>
        </a:buClr>
        <a:buFont typeface="Wingdings" pitchFamily="2" charset="2"/>
        <a:buChar char="§"/>
        <a:defRPr lang="en-US" altLang="en-US" sz="16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64980" indent="-195126" algn="l" rtl="0" eaLnBrk="1" fontAlgn="base" hangingPunct="1">
        <a:spcBef>
          <a:spcPct val="20000"/>
        </a:spcBef>
        <a:spcAft>
          <a:spcPct val="0"/>
        </a:spcAft>
        <a:buClr>
          <a:srgbClr val="002060"/>
        </a:buClr>
        <a:buFont typeface="Wingdings" pitchFamily="2" charset="2"/>
        <a:buChar char="§"/>
        <a:defRPr lang="en-US" altLang="en-US" sz="16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339953" indent="-20410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Wingdings" pitchFamily="2" charset="2"/>
        <a:buChar char="Ø"/>
        <a:defRPr sz="1300">
          <a:solidFill>
            <a:schemeClr val="tx1"/>
          </a:solidFill>
          <a:latin typeface="+mn-lt"/>
        </a:defRPr>
      </a:lvl6pPr>
      <a:lvl7pPr marL="2855596" indent="-20410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Wingdings" pitchFamily="2" charset="2"/>
        <a:buChar char="Ø"/>
        <a:defRPr sz="1300">
          <a:solidFill>
            <a:schemeClr val="tx1"/>
          </a:solidFill>
          <a:latin typeface="+mn-lt"/>
        </a:defRPr>
      </a:lvl7pPr>
      <a:lvl8pPr marL="3371225" indent="-20410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Wingdings" pitchFamily="2" charset="2"/>
        <a:buChar char="Ø"/>
        <a:defRPr sz="1300">
          <a:solidFill>
            <a:schemeClr val="tx1"/>
          </a:solidFill>
          <a:latin typeface="+mn-lt"/>
        </a:defRPr>
      </a:lvl8pPr>
      <a:lvl9pPr marL="3886821" indent="-20410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Wingdings" pitchFamily="2" charset="2"/>
        <a:buChar char="Ø"/>
        <a:defRPr sz="13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31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5625" algn="l" defTabSz="1031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1234" algn="l" defTabSz="1031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46882" algn="l" defTabSz="1031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62466" algn="l" defTabSz="1031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78094" algn="l" defTabSz="1031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93727" algn="l" defTabSz="1031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09326" algn="l" defTabSz="1031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24950" algn="l" defTabSz="103123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텍스트 개체 틀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948" tIns="46006" rIns="91948" bIns="460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wrap="square" lIns="91948" tIns="46006" rIns="91948" bIns="46006" numCol="1" anchor="ctr" anchorCtr="0" compatLnSpc="1">
            <a:prstTxWarp prst="textNoShape">
              <a:avLst/>
            </a:prstTxWarp>
          </a:bodyPr>
          <a:lstStyle>
            <a:lvl1pPr latinLnBrk="1">
              <a:defRPr kumimoji="0" sz="1300">
                <a:solidFill>
                  <a:srgbClr val="898989"/>
                </a:solidFill>
                <a:latin typeface="굴림" pitchFamily="34" charset="-127"/>
                <a:ea typeface="굴림" pitchFamily="34" charset="-127"/>
              </a:defRPr>
            </a:lvl1pPr>
          </a:lstStyle>
          <a:p>
            <a:pPr defTabSz="913354" fontAlgn="base">
              <a:spcBef>
                <a:spcPct val="0"/>
              </a:spcBef>
              <a:spcAft>
                <a:spcPct val="0"/>
              </a:spcAft>
              <a:defRPr/>
            </a:pPr>
            <a:fld id="{B33009E2-C0BD-4964-818F-FA15C8D84E8E}" type="datetime1">
              <a:rPr lang="ko-KR" altLang="en-US" smtClean="0"/>
              <a:pPr defTabSz="913354" fontAlgn="base">
                <a:spcBef>
                  <a:spcPct val="0"/>
                </a:spcBef>
                <a:spcAft>
                  <a:spcPct val="0"/>
                </a:spcAft>
                <a:defRPr/>
              </a:pPr>
              <a:t>2019-03-27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 vert="horz" wrap="square" lIns="91948" tIns="46006" rIns="91948" bIns="46006" numCol="1" anchor="ctr" anchorCtr="0" compatLnSpc="1">
            <a:prstTxWarp prst="textNoShape">
              <a:avLst/>
            </a:prstTxWarp>
          </a:bodyPr>
          <a:lstStyle>
            <a:lvl1pPr algn="ctr" latinLnBrk="1">
              <a:defRPr kumimoji="0" sz="1300">
                <a:solidFill>
                  <a:srgbClr val="898989"/>
                </a:solidFill>
                <a:latin typeface="굴림" pitchFamily="34" charset="-127"/>
                <a:ea typeface="굴림" pitchFamily="34" charset="-127"/>
              </a:defRPr>
            </a:lvl1pPr>
          </a:lstStyle>
          <a:p>
            <a:pPr defTabSz="913354" fontAlgn="base">
              <a:spcBef>
                <a:spcPct val="0"/>
              </a:spcBef>
              <a:spcAft>
                <a:spcPct val="0"/>
              </a:spcAft>
              <a:defRPr/>
            </a:pPr>
            <a:endParaRPr lang="ko-KR" altLang="en-US"/>
          </a:p>
        </p:txBody>
      </p:sp>
      <p:pic>
        <p:nvPicPr>
          <p:cNvPr id="4101" name="Picture 44"/>
          <p:cNvPicPr>
            <a:picLocks noChangeAspect="1" noChangeArrowheads="1"/>
          </p:cNvPicPr>
          <p:nvPr/>
        </p:nvPicPr>
        <p:blipFill>
          <a:blip r:embed="rId5" cstate="print">
            <a:lum contras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617" y="0"/>
            <a:ext cx="12207631" cy="879475"/>
          </a:xfrm>
          <a:prstGeom prst="rect">
            <a:avLst/>
          </a:prstGeom>
          <a:noFill/>
          <a:ln w="1587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03501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0" r:id="rId1"/>
    <p:sldLayoutId id="2147485131" r:id="rId2"/>
    <p:sldLayoutId id="2147485132" r:id="rId3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500" kern="1200">
          <a:solidFill>
            <a:schemeClr val="tx1"/>
          </a:solidFill>
          <a:latin typeface="맑은 고딕" pitchFamily="34" charset="-127"/>
          <a:ea typeface="맑은 고딕" pitchFamily="34" charset="-127"/>
          <a:cs typeface="Malgun Gothic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맑은 고딕" pitchFamily="34" charset="-127"/>
          <a:ea typeface="맑은 고딕" pitchFamily="34" charset="-127"/>
          <a:cs typeface="Malgun Gothic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맑은 고딕" pitchFamily="34" charset="-127"/>
          <a:ea typeface="맑은 고딕" pitchFamily="34" charset="-127"/>
          <a:cs typeface="Malgun Gothic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맑은 고딕" pitchFamily="34" charset="-127"/>
          <a:ea typeface="맑은 고딕" pitchFamily="34" charset="-127"/>
          <a:cs typeface="Malgun Gothic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맑은 고딕" pitchFamily="34" charset="-127"/>
          <a:ea typeface="맑은 고딕" pitchFamily="34" charset="-127"/>
          <a:cs typeface="Malgun Gothic"/>
        </a:defRPr>
      </a:lvl5pPr>
      <a:lvl6pPr marL="459687" algn="ctr" rtl="0" fontAlgn="base" latinLnBrk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9428" algn="ctr" rtl="0" fontAlgn="base" latinLnBrk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9134" algn="ctr" rtl="0" fontAlgn="base" latinLnBrk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38851" algn="ctr" rtl="0" fontAlgn="base" latinLnBrk="1">
        <a:spcBef>
          <a:spcPct val="0"/>
        </a:spcBef>
        <a:spcAft>
          <a:spcPct val="0"/>
        </a:spcAft>
        <a:defRPr sz="45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1666" indent="-341666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맑은 고딕" pitchFamily="34" charset="-127"/>
          <a:ea typeface="맑은 고딕" pitchFamily="34" charset="-127"/>
          <a:cs typeface="Malgun Gothic"/>
        </a:defRPr>
      </a:lvl1pPr>
      <a:lvl2pPr marL="743956" indent="-284185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700" kern="1200">
          <a:solidFill>
            <a:schemeClr val="tx1"/>
          </a:solidFill>
          <a:latin typeface="맑은 고딕" pitchFamily="34" charset="-127"/>
          <a:ea typeface="맑은 고딕" pitchFamily="34" charset="-127"/>
          <a:cs typeface="Malgun Gothic"/>
        </a:defRPr>
      </a:lvl2pPr>
      <a:lvl3pPr marL="1146298" indent="-226712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맑은 고딕" pitchFamily="34" charset="-127"/>
          <a:ea typeface="맑은 고딕" pitchFamily="34" charset="-127"/>
          <a:cs typeface="Malgun Gothic"/>
        </a:defRPr>
      </a:lvl3pPr>
      <a:lvl4pPr marL="1606071" indent="-226712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900" kern="1200">
          <a:solidFill>
            <a:schemeClr val="tx1"/>
          </a:solidFill>
          <a:latin typeface="맑은 고딕" pitchFamily="34" charset="-127"/>
          <a:ea typeface="맑은 고딕" pitchFamily="34" charset="-127"/>
          <a:cs typeface="Malgun Gothic"/>
        </a:defRPr>
      </a:lvl4pPr>
      <a:lvl5pPr marL="2065848" indent="-226712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900" kern="1200">
          <a:solidFill>
            <a:schemeClr val="tx1"/>
          </a:solidFill>
          <a:latin typeface="맑은 고딕" pitchFamily="34" charset="-127"/>
          <a:ea typeface="맑은 고딕" pitchFamily="34" charset="-127"/>
          <a:cs typeface="Malgun Gothic"/>
        </a:defRPr>
      </a:lvl5pPr>
      <a:lvl6pPr marL="2528391" indent="-229866" algn="l" defTabSz="919428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88129" indent="-229866" algn="l" defTabSz="919428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47840" indent="-229866" algn="l" defTabSz="919428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7560" indent="-229866" algn="l" defTabSz="919428" rtl="0" eaLnBrk="1" latinLnBrk="1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942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9687" algn="l" defTabSz="91942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19428" algn="l" defTabSz="91942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79134" algn="l" defTabSz="91942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38851" algn="l" defTabSz="91942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98560" algn="l" defTabSz="91942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58294" algn="l" defTabSz="91942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17994" algn="l" defTabSz="91942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77688" algn="l" defTabSz="919428" rtl="0" eaLnBrk="1" latinLnBrk="1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27" y="365156"/>
            <a:ext cx="10515600" cy="1325563"/>
          </a:xfrm>
          <a:prstGeom prst="rect">
            <a:avLst/>
          </a:prstGeom>
        </p:spPr>
        <p:txBody>
          <a:bodyPr vert="horz" lIns="90886" tIns="45434" rIns="90886" bIns="45434" rtlCol="0" anchor="ctr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27" y="1825625"/>
            <a:ext cx="10515600" cy="4351338"/>
          </a:xfrm>
          <a:prstGeom prst="rect">
            <a:avLst/>
          </a:prstGeom>
        </p:spPr>
        <p:txBody>
          <a:bodyPr vert="horz" lIns="90886" tIns="45434" rIns="90886" bIns="45434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27" y="6356386"/>
            <a:ext cx="2743200" cy="365125"/>
          </a:xfrm>
          <a:prstGeom prst="rect">
            <a:avLst/>
          </a:prstGeom>
        </p:spPr>
        <p:txBody>
          <a:bodyPr vert="horz" lIns="90886" tIns="45434" rIns="90886" bIns="4543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C62350-CD96-48BF-BD94-80F95302855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9-03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86"/>
            <a:ext cx="4114800" cy="365125"/>
          </a:xfrm>
          <a:prstGeom prst="rect">
            <a:avLst/>
          </a:prstGeom>
        </p:spPr>
        <p:txBody>
          <a:bodyPr vert="horz" lIns="90886" tIns="45434" rIns="90886" bIns="4543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86"/>
            <a:ext cx="2743200" cy="365125"/>
          </a:xfrm>
          <a:prstGeom prst="rect">
            <a:avLst/>
          </a:prstGeom>
        </p:spPr>
        <p:txBody>
          <a:bodyPr vert="horz" lIns="90886" tIns="45434" rIns="90886" bIns="4543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1755CE-114B-4359-9BB8-EC8F53C2904A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923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4" r:id="rId1"/>
    <p:sldLayoutId id="2147485135" r:id="rId2"/>
    <p:sldLayoutId id="2147485136" r:id="rId3"/>
    <p:sldLayoutId id="2147485137" r:id="rId4"/>
    <p:sldLayoutId id="2147485138" r:id="rId5"/>
    <p:sldLayoutId id="2147485139" r:id="rId6"/>
    <p:sldLayoutId id="2147485140" r:id="rId7"/>
    <p:sldLayoutId id="2147485141" r:id="rId8"/>
    <p:sldLayoutId id="2147485142" r:id="rId9"/>
    <p:sldLayoutId id="2147485143" r:id="rId10"/>
    <p:sldLayoutId id="2147485144" r:id="rId11"/>
  </p:sldLayoutIdLst>
  <p:txStyles>
    <p:titleStyle>
      <a:lvl1pPr algn="l" defTabSz="908666" rtl="0" eaLnBrk="1" latinLnBrk="1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182" indent="-227182" algn="l" defTabSz="908666" rtl="0" eaLnBrk="1" latinLnBrk="1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1554" indent="-227182" algn="l" defTabSz="90866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35852" indent="-227182" algn="l" defTabSz="90866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0174" indent="-227182" algn="l" defTabSz="90866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44513" indent="-227182" algn="l" defTabSz="90866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498872" indent="-227182" algn="l" defTabSz="90866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53192" indent="-227182" algn="l" defTabSz="90866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07522" indent="-227182" algn="l" defTabSz="90866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61868" indent="-227182" algn="l" defTabSz="908666" rtl="0" eaLnBrk="1" latinLnBrk="1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866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309" algn="l" defTabSz="90866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666" algn="l" defTabSz="90866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012" algn="l" defTabSz="90866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7363" algn="l" defTabSz="90866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1688" algn="l" defTabSz="90866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6022" algn="l" defTabSz="90866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0368" algn="l" defTabSz="90866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719" algn="l" defTabSz="908666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image" Target="../media/image65.jpg"/><Relationship Id="rId7" Type="http://schemas.openxmlformats.org/officeDocument/2006/relationships/diagramQuickStyle" Target="../diagrams/quickStyle4.xml"/><Relationship Id="rId12" Type="http://schemas.openxmlformats.org/officeDocument/2006/relationships/image" Target="../media/image6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6" Type="http://schemas.openxmlformats.org/officeDocument/2006/relationships/diagramLayout" Target="../diagrams/layout4.xml"/><Relationship Id="rId11" Type="http://schemas.openxmlformats.org/officeDocument/2006/relationships/image" Target="../media/image68.png"/><Relationship Id="rId5" Type="http://schemas.openxmlformats.org/officeDocument/2006/relationships/diagramData" Target="../diagrams/data4.xml"/><Relationship Id="rId10" Type="http://schemas.openxmlformats.org/officeDocument/2006/relationships/image" Target="../media/image67.jpeg"/><Relationship Id="rId4" Type="http://schemas.openxmlformats.org/officeDocument/2006/relationships/image" Target="../media/image66.jpeg"/><Relationship Id="rId9" Type="http://schemas.microsoft.com/office/2007/relationships/diagramDrawing" Target="../diagrams/drawing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jpeg"/><Relationship Id="rId18" Type="http://schemas.openxmlformats.org/officeDocument/2006/relationships/image" Target="../media/image24.jpeg"/><Relationship Id="rId3" Type="http://schemas.openxmlformats.org/officeDocument/2006/relationships/diagramData" Target="../diagrams/data1.xml"/><Relationship Id="rId21" Type="http://schemas.microsoft.com/office/2007/relationships/hdphoto" Target="../media/hdphoto2.wdp"/><Relationship Id="rId7" Type="http://schemas.microsoft.com/office/2007/relationships/diagramDrawing" Target="../diagrams/drawing1.xml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2.jp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7.jpe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5.jpeg"/><Relationship Id="rId14" Type="http://schemas.openxmlformats.org/officeDocument/2006/relationships/image" Target="../media/image20.jpeg"/><Relationship Id="rId22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openxmlformats.org/officeDocument/2006/relationships/image" Target="../media/image38.jpeg"/><Relationship Id="rId3" Type="http://schemas.openxmlformats.org/officeDocument/2006/relationships/image" Target="../media/image33.png"/><Relationship Id="rId7" Type="http://schemas.openxmlformats.org/officeDocument/2006/relationships/diagramColors" Target="../diagrams/colors2.xml"/><Relationship Id="rId12" Type="http://schemas.openxmlformats.org/officeDocument/2006/relationships/image" Target="../media/image3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36.jpeg"/><Relationship Id="rId5" Type="http://schemas.openxmlformats.org/officeDocument/2006/relationships/diagramLayout" Target="../diagrams/layout2.xml"/><Relationship Id="rId10" Type="http://schemas.openxmlformats.org/officeDocument/2006/relationships/image" Target="../media/image35.jpeg"/><Relationship Id="rId4" Type="http://schemas.openxmlformats.org/officeDocument/2006/relationships/diagramData" Target="../diagrams/data2.xml"/><Relationship Id="rId9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image" Target="../media/image39.jpeg"/><Relationship Id="rId7" Type="http://schemas.openxmlformats.org/officeDocument/2006/relationships/diagramLayout" Target="../diagrams/layou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6" Type="http://schemas.openxmlformats.org/officeDocument/2006/relationships/diagramData" Target="../diagrams/data3.xml"/><Relationship Id="rId5" Type="http://schemas.openxmlformats.org/officeDocument/2006/relationships/image" Target="../media/image41.png"/><Relationship Id="rId10" Type="http://schemas.microsoft.com/office/2007/relationships/diagramDrawing" Target="../diagrams/drawing3.xml"/><Relationship Id="rId4" Type="http://schemas.openxmlformats.org/officeDocument/2006/relationships/image" Target="../media/image40.png"/><Relationship Id="rId9" Type="http://schemas.openxmlformats.org/officeDocument/2006/relationships/diagramColors" Target="../diagrams/colors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png"/><Relationship Id="rId18" Type="http://schemas.openxmlformats.org/officeDocument/2006/relationships/image" Target="../media/image61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17" Type="http://schemas.openxmlformats.org/officeDocument/2006/relationships/hyperlink" Target="https://www.google.com.vn/url?sa=i&amp;rct=j&amp;q=&amp;esrc=s&amp;source=images&amp;cd=&amp;cad=rja&amp;uact=8&amp;ved=2ahUKEwimoJq21ZzhAhXFXbwKHZ10COcQjRx6BAgBEAU&amp;url=https://www.softwaresuggest.com/blog/infographic-top-ten-applicant-tracking-software/&amp;psig=AOvVaw2XQy9B6bD5SQ2pU-lJGr0h&amp;ust=1553581685344667" TargetMode="External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0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10" Type="http://schemas.openxmlformats.org/officeDocument/2006/relationships/image" Target="../media/image54.png"/><Relationship Id="rId19" Type="http://schemas.openxmlformats.org/officeDocument/2006/relationships/image" Target="../media/image62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Relationship Id="rId14" Type="http://schemas.openxmlformats.org/officeDocument/2006/relationships/image" Target="../media/image5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77F83CC4-B528-3949-B5F2-B922AB9DFDB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38985" y="1610152"/>
            <a:ext cx="7639884" cy="3046410"/>
          </a:xfrm>
          <a:prstGeom prst="rect">
            <a:avLst/>
          </a:prstGeom>
          <a:noFill/>
        </p:spPr>
        <p:txBody>
          <a:bodyPr wrap="square" lIns="90886" tIns="45434" rIns="90886" bIns="45434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3200" b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Hoạt</a:t>
            </a: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3200" b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động</a:t>
            </a: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3200" b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hợp</a:t>
            </a: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3200" b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ác</a:t>
            </a: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3200" b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giữa</a:t>
            </a: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amsung </a:t>
            </a:r>
            <a:r>
              <a:rPr lang="en-US" altLang="ko-KR" sz="3200" b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Việt</a:t>
            </a: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Nam </a:t>
            </a:r>
          </a:p>
          <a:p>
            <a:pPr algn="ctr">
              <a:lnSpc>
                <a:spcPct val="150000"/>
              </a:lnSpc>
            </a:pPr>
            <a:r>
              <a:rPr lang="en-US" altLang="ko-KR" sz="3200" b="1" kern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endParaRPr lang="en-US" altLang="ko-KR" sz="32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</a:pPr>
            <a:r>
              <a:rPr lang="en-US" altLang="ko-KR" sz="3200" b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3200" b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rường</a:t>
            </a: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3200" b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đại</a:t>
            </a: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ko-KR" sz="3200" b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học</a:t>
            </a:r>
            <a:r>
              <a:rPr lang="en-US" altLang="ko-KR" sz="32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IC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22316" y="5928614"/>
            <a:ext cx="4273223" cy="337977"/>
          </a:xfrm>
          <a:prstGeom prst="rect">
            <a:avLst/>
          </a:prstGeom>
          <a:noFill/>
        </p:spPr>
        <p:txBody>
          <a:bodyPr wrap="square" lIns="90886" tIns="45434" rIns="90886" bIns="45434" rtlCol="0">
            <a:spAutoFit/>
          </a:bodyPr>
          <a:lstStyle/>
          <a:p>
            <a:pPr algn="ctr"/>
            <a:r>
              <a:rPr lang="en-US" altLang="ko-KR" sz="1600" b="1" dirty="0">
                <a:solidFill>
                  <a:prstClr val="white"/>
                </a:solidFill>
                <a:latin typeface="맑은 고딕"/>
                <a:cs typeface="Arial" panose="020B0604020202020204" pitchFamily="34" charset="0"/>
              </a:rPr>
              <a:t>30/03/2019</a:t>
            </a:r>
            <a:endParaRPr lang="en-US" altLang="ko-KR" sz="16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D5A0F08-3938-2447-B5CF-CECBDAD38140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621184" y="352839"/>
            <a:ext cx="1664662" cy="33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56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58" y="445374"/>
            <a:ext cx="11536683" cy="596724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7760" y="4552494"/>
            <a:ext cx="1576478" cy="1107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320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76CD7F2C-8D1E-3646-9A52-AC6C5B0BEAF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06" b="656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2" descr="C:\mySingle\Temp\20181112_093847.jpg">
            <a:extLst>
              <a:ext uri="{FF2B5EF4-FFF2-40B4-BE49-F238E27FC236}">
                <a16:creationId xmlns:a16="http://schemas.microsoft.com/office/drawing/2014/main" xmlns="" id="{FF4C09E6-D3E1-1143-B786-B40F51B04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8466" y="1738028"/>
            <a:ext cx="3083492" cy="45246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8" name="제목 1">
            <a:extLst>
              <a:ext uri="{FF2B5EF4-FFF2-40B4-BE49-F238E27FC236}">
                <a16:creationId xmlns:a16="http://schemas.microsoft.com/office/drawing/2014/main" xmlns="" id="{38594C0A-5DA3-E24E-9653-BD3371F041A5}"/>
              </a:ext>
            </a:extLst>
          </p:cNvPr>
          <p:cNvSpPr txBox="1">
            <a:spLocks/>
          </p:cNvSpPr>
          <p:nvPr/>
        </p:nvSpPr>
        <p:spPr>
          <a:xfrm>
            <a:off x="8568182" y="607988"/>
            <a:ext cx="3623818" cy="949560"/>
          </a:xfrm>
          <a:prstGeom prst="rect">
            <a:avLst/>
          </a:prstGeom>
        </p:spPr>
        <p:txBody>
          <a:bodyPr vert="horz" lIns="91249" tIns="45626" rIns="91249" bIns="45626" rtlCol="0" anchor="ctr">
            <a:normAutofit lnSpcReduction="1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altLang="ko-KR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sung Galaxy A7</a:t>
            </a:r>
          </a:p>
          <a:p>
            <a:pPr algn="ctr">
              <a:lnSpc>
                <a:spcPct val="150000"/>
              </a:lnSpc>
            </a:pPr>
            <a:r>
              <a:rPr lang="en-US" altLang="ko-KR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SVMC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7D58424-3A7D-BC46-86A1-B0DF66CC4BD8}"/>
              </a:ext>
            </a:extLst>
          </p:cNvPr>
          <p:cNvSpPr/>
          <p:nvPr/>
        </p:nvSpPr>
        <p:spPr>
          <a:xfrm>
            <a:off x="0" y="-74951"/>
            <a:ext cx="5644931" cy="6962931"/>
          </a:xfrm>
          <a:prstGeom prst="rect">
            <a:avLst/>
          </a:prstGeom>
          <a:gradFill flip="none" rotWithShape="1">
            <a:gsLst>
              <a:gs pos="17003">
                <a:srgbClr val="DEE7F3">
                  <a:alpha val="65000"/>
                </a:srgbClr>
              </a:gs>
              <a:gs pos="0">
                <a:schemeClr val="accent1">
                  <a:lumMod val="5000"/>
                  <a:lumOff val="95000"/>
                  <a:alpha val="44000"/>
                </a:schemeClr>
              </a:gs>
              <a:gs pos="49000">
                <a:schemeClr val="accent1">
                  <a:lumMod val="45000"/>
                  <a:lumOff val="55000"/>
                  <a:alpha val="93000"/>
                </a:schemeClr>
              </a:gs>
              <a:gs pos="74000">
                <a:schemeClr val="accent1">
                  <a:lumMod val="45000"/>
                  <a:lumOff val="55000"/>
                  <a:alpha val="96000"/>
                </a:schemeClr>
              </a:gs>
              <a:gs pos="100000">
                <a:schemeClr val="accent1">
                  <a:lumMod val="30000"/>
                  <a:lumOff val="70000"/>
                  <a:alpha val="97000"/>
                </a:schemeClr>
              </a:gs>
            </a:gsLst>
            <a:lin ang="10800000" scaled="1"/>
            <a:tileRect/>
          </a:gradFill>
          <a:ln w="3175">
            <a:noFill/>
          </a:ln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endParaRPr lang="en-US" b="1" dirty="0">
              <a:solidFill>
                <a:schemeClr val="accent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xmlns="" id="{50BEA9AE-5ECE-BA41-BF8B-F8F3BEF519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161042"/>
              </p:ext>
            </p:extLst>
          </p:nvPr>
        </p:nvGraphicFramePr>
        <p:xfrm>
          <a:off x="161711" y="3961149"/>
          <a:ext cx="5321508" cy="35376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1BA00A4-76A9-DB40-BDD1-5C0188FDFA9B}"/>
              </a:ext>
            </a:extLst>
          </p:cNvPr>
          <p:cNvSpPr/>
          <p:nvPr/>
        </p:nvSpPr>
        <p:spPr>
          <a:xfrm>
            <a:off x="199858" y="4781143"/>
            <a:ext cx="1279517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014 - 2015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C9D7D9E-C69E-544A-9982-CED1A36FF665}"/>
              </a:ext>
            </a:extLst>
          </p:cNvPr>
          <p:cNvSpPr/>
          <p:nvPr/>
        </p:nvSpPr>
        <p:spPr>
          <a:xfrm>
            <a:off x="1815138" y="4476317"/>
            <a:ext cx="81785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016 ~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57C2AD7B-DE55-3E41-A283-0BC10A97BC9C}"/>
              </a:ext>
            </a:extLst>
          </p:cNvPr>
          <p:cNvSpPr/>
          <p:nvPr/>
        </p:nvSpPr>
        <p:spPr>
          <a:xfrm>
            <a:off x="2911024" y="4174118"/>
            <a:ext cx="1279517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017 - 2018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4E3CFDD-6CF9-5D4D-93C2-BB5D7F4CC013}"/>
              </a:ext>
            </a:extLst>
          </p:cNvPr>
          <p:cNvSpPr/>
          <p:nvPr/>
        </p:nvSpPr>
        <p:spPr>
          <a:xfrm>
            <a:off x="4523781" y="3758720"/>
            <a:ext cx="81785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018 ~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CFD57BB9-60E7-3843-82D7-C34C9DAD51DC}"/>
              </a:ext>
            </a:extLst>
          </p:cNvPr>
          <p:cNvSpPr/>
          <p:nvPr/>
        </p:nvSpPr>
        <p:spPr>
          <a:xfrm>
            <a:off x="433895" y="5228512"/>
            <a:ext cx="81144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400" dirty="0" err="1">
                <a:ln w="0"/>
                <a:solidFill>
                  <a:srgbClr val="0000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panose="020B0604020202020204" pitchFamily="34" charset="0"/>
              </a:rPr>
              <a:t>Tái</a:t>
            </a:r>
            <a:r>
              <a:rPr lang="en-US" sz="1400" dirty="0">
                <a:ln w="0"/>
                <a:solidFill>
                  <a:srgbClr val="0000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panose="020B0604020202020204" pitchFamily="34" charset="0"/>
              </a:rPr>
              <a:t> </a:t>
            </a:r>
            <a:r>
              <a:rPr lang="en-US" sz="1400" dirty="0" err="1">
                <a:ln w="0"/>
                <a:solidFill>
                  <a:srgbClr val="0000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cs typeface="Arial" panose="020B0604020202020204" pitchFamily="34" charset="0"/>
              </a:rPr>
              <a:t>sinh</a:t>
            </a:r>
            <a:endParaRPr lang="en-US" sz="1400" dirty="0">
              <a:ln w="0"/>
              <a:solidFill>
                <a:srgbClr val="0000FF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F1499E90-3C08-5742-A762-884E70EDCB16}"/>
              </a:ext>
            </a:extLst>
          </p:cNvPr>
          <p:cNvSpPr/>
          <p:nvPr/>
        </p:nvSpPr>
        <p:spPr>
          <a:xfrm>
            <a:off x="1517690" y="4920735"/>
            <a:ext cx="118013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400" dirty="0">
                <a:ln w="0"/>
                <a:solidFill>
                  <a:srgbClr val="0000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S Upgrad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92927628-F067-4644-833A-0B069EA6AE27}"/>
              </a:ext>
            </a:extLst>
          </p:cNvPr>
          <p:cNvSpPr/>
          <p:nvPr/>
        </p:nvSpPr>
        <p:spPr>
          <a:xfrm>
            <a:off x="2985467" y="4600766"/>
            <a:ext cx="1013418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400" dirty="0">
                <a:ln w="0"/>
                <a:solidFill>
                  <a:srgbClr val="0000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asic S/W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46AD9D07-B4B8-5F43-8B24-BF6BA94D08DD}"/>
              </a:ext>
            </a:extLst>
          </p:cNvPr>
          <p:cNvSpPr/>
          <p:nvPr/>
        </p:nvSpPr>
        <p:spPr>
          <a:xfrm>
            <a:off x="4088567" y="4138452"/>
            <a:ext cx="1688283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400" dirty="0">
                <a:ln w="0"/>
                <a:solidFill>
                  <a:srgbClr val="0000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asic S/W </a:t>
            </a:r>
          </a:p>
          <a:p>
            <a:pPr algn="ctr"/>
            <a:r>
              <a:rPr lang="en-US" sz="1400" dirty="0">
                <a:ln w="0"/>
                <a:solidFill>
                  <a:srgbClr val="0000FF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With New Function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70B95F08-B631-EE45-BD06-F3E85FADF51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13" y="2056144"/>
            <a:ext cx="2334395" cy="117296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14387BD0-55D7-9041-AA2D-86A73DD694C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4750" y="1570776"/>
            <a:ext cx="1981188" cy="1658328"/>
          </a:xfrm>
          <a:prstGeom prst="rect">
            <a:avLst/>
          </a:prstGeom>
        </p:spPr>
      </p:pic>
      <p:sp>
        <p:nvSpPr>
          <p:cNvPr id="28" name="Right Arrow 27">
            <a:extLst>
              <a:ext uri="{FF2B5EF4-FFF2-40B4-BE49-F238E27FC236}">
                <a16:creationId xmlns:a16="http://schemas.microsoft.com/office/drawing/2014/main" xmlns="" id="{3DF71ED8-75B8-784E-AB18-55EE30A03A0F}"/>
              </a:ext>
            </a:extLst>
          </p:cNvPr>
          <p:cNvSpPr/>
          <p:nvPr/>
        </p:nvSpPr>
        <p:spPr>
          <a:xfrm>
            <a:off x="2893478" y="1894148"/>
            <a:ext cx="595292" cy="1334956"/>
          </a:xfrm>
          <a:prstGeom prst="rightArrow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endParaRPr lang="en-US" b="1" dirty="0">
              <a:solidFill>
                <a:schemeClr val="accent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C80775C8-21BB-474A-9BFA-E51E4F0763A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500" y="140543"/>
            <a:ext cx="809469" cy="809469"/>
          </a:xfrm>
          <a:prstGeom prst="rect">
            <a:avLst/>
          </a:prstGeom>
        </p:spPr>
      </p:pic>
      <p:sp>
        <p:nvSpPr>
          <p:cNvPr id="30" name="제목 1">
            <a:extLst>
              <a:ext uri="{FF2B5EF4-FFF2-40B4-BE49-F238E27FC236}">
                <a16:creationId xmlns:a16="http://schemas.microsoft.com/office/drawing/2014/main" xmlns="" id="{B706F7E7-8CA7-FA45-AEDB-3C1CE832065E}"/>
              </a:ext>
            </a:extLst>
          </p:cNvPr>
          <p:cNvSpPr txBox="1">
            <a:spLocks/>
          </p:cNvSpPr>
          <p:nvPr/>
        </p:nvSpPr>
        <p:spPr>
          <a:xfrm>
            <a:off x="1093481" y="44484"/>
            <a:ext cx="4612962" cy="1045094"/>
          </a:xfrm>
          <a:prstGeom prst="rect">
            <a:avLst/>
          </a:prstGeom>
        </p:spPr>
        <p:txBody>
          <a:bodyPr vert="horz" lIns="91249" tIns="45626" rIns="91249" bIns="45626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r>
              <a:rPr lang="en-US" altLang="ko-KR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sung Vietnam </a:t>
            </a:r>
            <a:r>
              <a:rPr lang="en-US" altLang="ko-KR" sz="24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&amp;D</a:t>
            </a:r>
            <a:r>
              <a:rPr lang="en-US" altLang="ko-KR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altLang="ko-KR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altLang="ko-KR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bile Center (SVMC)</a:t>
            </a:r>
          </a:p>
        </p:txBody>
      </p:sp>
    </p:spTree>
    <p:extLst>
      <p:ext uri="{BB962C8B-B14F-4D97-AF65-F5344CB8AC3E}">
        <p14:creationId xmlns:p14="http://schemas.microsoft.com/office/powerpoint/2010/main" val="268519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xmlns="" id="{5183292B-E3D6-DC4D-A010-542A9CD9FC39}"/>
              </a:ext>
            </a:extLst>
          </p:cNvPr>
          <p:cNvSpPr/>
          <p:nvPr/>
        </p:nvSpPr>
        <p:spPr>
          <a:xfrm>
            <a:off x="1326932" y="5736308"/>
            <a:ext cx="9821917" cy="914400"/>
          </a:xfrm>
          <a:prstGeom prst="roundRect">
            <a:avLst/>
          </a:prstGeom>
          <a:gradFill>
            <a:gsLst>
              <a:gs pos="0">
                <a:schemeClr val="accent5">
                  <a:shade val="51000"/>
                  <a:satMod val="130000"/>
                </a:schemeClr>
              </a:gs>
              <a:gs pos="80000">
                <a:schemeClr val="accent5">
                  <a:shade val="93000"/>
                  <a:satMod val="130000"/>
                  <a:alpha val="20000"/>
                </a:schemeClr>
              </a:gs>
              <a:gs pos="100000">
                <a:schemeClr val="accent5">
                  <a:shade val="94000"/>
                  <a:satMod val="135000"/>
                  <a:alpha val="20000"/>
                </a:schemeClr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en-US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ĐỒNG TÌNH - ĐỒNG SỨC - ĐỒNG LÒNG - ĐỒNG MINH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46970C4-91DB-624C-8BF6-57A18D636C62}"/>
              </a:ext>
            </a:extLst>
          </p:cNvPr>
          <p:cNvSpPr txBox="1"/>
          <p:nvPr/>
        </p:nvSpPr>
        <p:spPr bwMode="auto">
          <a:xfrm>
            <a:off x="1758141" y="5334690"/>
            <a:ext cx="257153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-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hủ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tịch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Hồ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Chí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Minh - </a:t>
            </a:r>
          </a:p>
        </p:txBody>
      </p:sp>
    </p:spTree>
    <p:extLst>
      <p:ext uri="{BB962C8B-B14F-4D97-AF65-F5344CB8AC3E}">
        <p14:creationId xmlns:p14="http://schemas.microsoft.com/office/powerpoint/2010/main" val="88464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3B7808E3-D7E4-904C-A6CB-BFA87572C13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6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4" b="12121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3B3D808-6744-624B-B194-B0B0EAD6F419}"/>
              </a:ext>
            </a:extLst>
          </p:cNvPr>
          <p:cNvPicPr>
            <a:picLocks noChangeAspect="1"/>
          </p:cNvPicPr>
          <p:nvPr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4429770" y="1477101"/>
            <a:ext cx="3332459" cy="66649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4EBB2550-141E-B045-8BE5-906675E41D15}"/>
              </a:ext>
            </a:extLst>
          </p:cNvPr>
          <p:cNvSpPr/>
          <p:nvPr/>
        </p:nvSpPr>
        <p:spPr>
          <a:xfrm>
            <a:off x="2064286" y="5275101"/>
            <a:ext cx="8063426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Xin </a:t>
            </a:r>
            <a:r>
              <a:rPr lang="en-US" sz="5400" b="1" cap="none" spc="0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hân</a:t>
            </a:r>
            <a:r>
              <a:rPr lang="en-US" sz="5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  <a:r>
              <a:rPr lang="en-US" sz="5400" b="1" cap="none" spc="0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thành</a:t>
            </a:r>
            <a:r>
              <a:rPr lang="en-US" sz="5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  <a:r>
              <a:rPr lang="en-US" sz="5400" b="1" cap="none" spc="0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ảm</a:t>
            </a:r>
            <a:r>
              <a:rPr lang="en-US" sz="5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</a:t>
            </a:r>
            <a:r>
              <a:rPr lang="en-US" sz="5400" b="1" cap="none" spc="0" dirty="0" err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ơn</a:t>
            </a:r>
            <a:r>
              <a:rPr lang="en-US" sz="5400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219714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베트남, 지도, 실루엣, 국가, 동남 아시아, 아시아, 하노이"/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459" y="644692"/>
            <a:ext cx="3359516" cy="5974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타원 22"/>
          <p:cNvSpPr/>
          <p:nvPr/>
        </p:nvSpPr>
        <p:spPr>
          <a:xfrm>
            <a:off x="3417097" y="5664674"/>
            <a:ext cx="122959" cy="125047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334" tIns="45698" rIns="91334" bIns="45698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364821" y="1232661"/>
            <a:ext cx="1754851" cy="328295"/>
          </a:xfrm>
          <a:prstGeom prst="rect">
            <a:avLst/>
          </a:prstGeom>
          <a:noFill/>
        </p:spPr>
        <p:txBody>
          <a:bodyPr wrap="square" lIns="121778" tIns="60889" rIns="121778" bIns="60889" rtlCol="0">
            <a:spAutoFit/>
          </a:bodyPr>
          <a:lstStyle/>
          <a:p>
            <a:pPr algn="r" defTabSz="913309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dirty="0" err="1">
                <a:solidFill>
                  <a:prstClr val="black"/>
                </a:solidFill>
              </a:rPr>
              <a:t>Thái</a:t>
            </a:r>
            <a:r>
              <a:rPr kumimoji="1" lang="en-US" altLang="ko-KR" sz="1300" dirty="0">
                <a:solidFill>
                  <a:prstClr val="black"/>
                </a:solidFill>
              </a:rPr>
              <a:t> </a:t>
            </a:r>
            <a:r>
              <a:rPr kumimoji="1" lang="en-US" altLang="ko-KR" sz="1300" dirty="0" err="1">
                <a:solidFill>
                  <a:prstClr val="black"/>
                </a:solidFill>
              </a:rPr>
              <a:t>Nguyên</a:t>
            </a:r>
            <a:endParaRPr kumimoji="1" lang="en-US" altLang="ko-KR" sz="1300" dirty="0">
              <a:solidFill>
                <a:prstClr val="black"/>
              </a:solidFill>
            </a:endParaRPr>
          </a:p>
        </p:txBody>
      </p:sp>
      <p:sp>
        <p:nvSpPr>
          <p:cNvPr id="29" name="타원 22"/>
          <p:cNvSpPr/>
          <p:nvPr/>
        </p:nvSpPr>
        <p:spPr>
          <a:xfrm>
            <a:off x="2839789" y="1699644"/>
            <a:ext cx="139200" cy="137552"/>
          </a:xfrm>
          <a:prstGeom prst="ellipse">
            <a:avLst/>
          </a:prstGeom>
          <a:solidFill>
            <a:srgbClr val="C00000"/>
          </a:solidFill>
          <a:ln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334" tIns="45698" rIns="91334" bIns="45698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0" name="타원 22"/>
          <p:cNvSpPr/>
          <p:nvPr/>
        </p:nvSpPr>
        <p:spPr>
          <a:xfrm>
            <a:off x="2692437" y="1542099"/>
            <a:ext cx="139200" cy="137552"/>
          </a:xfrm>
          <a:prstGeom prst="ellipse">
            <a:avLst/>
          </a:prstGeom>
          <a:solidFill>
            <a:srgbClr val="0070C0"/>
          </a:solidFill>
          <a:ln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334" tIns="45698" rIns="91334" bIns="45698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32" name="Round Same Side Corner Rectangle 61"/>
          <p:cNvSpPr/>
          <p:nvPr/>
        </p:nvSpPr>
        <p:spPr>
          <a:xfrm rot="5400000">
            <a:off x="1981461" y="-1977592"/>
            <a:ext cx="531312" cy="4493365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78" tIns="60889" rIns="121778" bIns="60889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en-US" sz="1900">
              <a:solidFill>
                <a:srgbClr val="FFFFFF"/>
              </a:solidFill>
            </a:endParaRPr>
          </a:p>
        </p:txBody>
      </p:sp>
      <p:sp>
        <p:nvSpPr>
          <p:cNvPr id="33" name="이등변 삼각형 32"/>
          <p:cNvSpPr/>
          <p:nvPr/>
        </p:nvSpPr>
        <p:spPr>
          <a:xfrm>
            <a:off x="3916730" y="22023"/>
            <a:ext cx="575207" cy="516433"/>
          </a:xfrm>
          <a:prstGeom prst="triangle">
            <a:avLst>
              <a:gd name="adj" fmla="val 100000"/>
            </a:avLst>
          </a:prstGeom>
          <a:solidFill>
            <a:srgbClr val="1737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78" tIns="60889" rIns="121778" bIns="60889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4233" y="67321"/>
            <a:ext cx="4050229" cy="415395"/>
          </a:xfrm>
          <a:prstGeom prst="rect">
            <a:avLst/>
          </a:prstGeom>
          <a:noFill/>
        </p:spPr>
        <p:txBody>
          <a:bodyPr wrap="none" lIns="121778" tIns="60889" rIns="121778" bIns="60889" rtlCol="0">
            <a:spAutoFit/>
          </a:bodyPr>
          <a:lstStyle/>
          <a:p>
            <a:pPr defTabSz="913309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9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ập</a:t>
            </a:r>
            <a:r>
              <a:rPr kumimoji="1" lang="en-US" altLang="ko-KR" sz="19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kumimoji="1" lang="en-US" altLang="ko-KR" sz="19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đoàn</a:t>
            </a:r>
            <a:r>
              <a:rPr kumimoji="1" lang="en-US" altLang="ko-KR" sz="19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amsung </a:t>
            </a:r>
            <a:r>
              <a:rPr kumimoji="1" lang="en-US" altLang="ko-KR" sz="19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ại</a:t>
            </a:r>
            <a:r>
              <a:rPr kumimoji="1" lang="en-US" altLang="ko-KR" sz="19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kumimoji="1" lang="en-US" altLang="ko-KR" sz="19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ệt</a:t>
            </a:r>
            <a:r>
              <a:rPr kumimoji="1" lang="en-US" altLang="ko-KR" sz="19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Nam</a:t>
            </a:r>
            <a:endParaRPr kumimoji="1" lang="ko-KR" altLang="en-US" sz="19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5" name="직선 연결선 4"/>
          <p:cNvCxnSpPr>
            <a:cxnSpLocks/>
            <a:stCxn id="30" idx="2"/>
            <a:endCxn id="24" idx="1"/>
          </p:cNvCxnSpPr>
          <p:nvPr/>
        </p:nvCxnSpPr>
        <p:spPr>
          <a:xfrm rot="10800000" flipH="1" flipV="1">
            <a:off x="2692436" y="1610874"/>
            <a:ext cx="2042709" cy="2976983"/>
          </a:xfrm>
          <a:prstGeom prst="bentConnector3">
            <a:avLst>
              <a:gd name="adj1" fmla="val -11191"/>
            </a:avLst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직선 연결선 42"/>
          <p:cNvCxnSpPr/>
          <p:nvPr/>
        </p:nvCxnSpPr>
        <p:spPr>
          <a:xfrm>
            <a:off x="3574227" y="5733256"/>
            <a:ext cx="145803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55"/>
          <a:stretch/>
        </p:blipFill>
        <p:spPr>
          <a:xfrm>
            <a:off x="4722081" y="5255578"/>
            <a:ext cx="1593291" cy="10815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그림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5146" y="4118349"/>
            <a:ext cx="1580226" cy="9390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그림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5145" y="2579743"/>
            <a:ext cx="1602992" cy="12018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7" name="TextBox 46"/>
          <p:cNvSpPr txBox="1"/>
          <p:nvPr/>
        </p:nvSpPr>
        <p:spPr>
          <a:xfrm>
            <a:off x="2631257" y="1951547"/>
            <a:ext cx="1198587" cy="328295"/>
          </a:xfrm>
          <a:prstGeom prst="rect">
            <a:avLst/>
          </a:prstGeom>
          <a:noFill/>
        </p:spPr>
        <p:txBody>
          <a:bodyPr wrap="square" lIns="121778" tIns="60889" rIns="121778" bIns="60889" rtlCol="0">
            <a:spAutoFit/>
          </a:bodyPr>
          <a:lstStyle/>
          <a:p>
            <a:pPr algn="r" defTabSz="913309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dirty="0" err="1">
                <a:solidFill>
                  <a:prstClr val="white"/>
                </a:solidFill>
              </a:rPr>
              <a:t>Bắc</a:t>
            </a:r>
            <a:r>
              <a:rPr kumimoji="1" lang="en-US" altLang="ko-KR" sz="1300" dirty="0">
                <a:solidFill>
                  <a:prstClr val="white"/>
                </a:solidFill>
              </a:rPr>
              <a:t> </a:t>
            </a:r>
            <a:r>
              <a:rPr kumimoji="1" lang="en-US" altLang="ko-KR" sz="1300" dirty="0" err="1">
                <a:solidFill>
                  <a:prstClr val="white"/>
                </a:solidFill>
              </a:rPr>
              <a:t>Ninh</a:t>
            </a:r>
            <a:endParaRPr kumimoji="1" lang="en-US" altLang="ko-KR" sz="1300" dirty="0">
              <a:solidFill>
                <a:prstClr val="white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707457" y="5400072"/>
            <a:ext cx="1323539" cy="328289"/>
          </a:xfrm>
          <a:prstGeom prst="rect">
            <a:avLst/>
          </a:prstGeom>
          <a:noFill/>
        </p:spPr>
        <p:txBody>
          <a:bodyPr wrap="square" lIns="121778" tIns="60889" rIns="121778" bIns="60889" rtlCol="0">
            <a:spAutoFit/>
          </a:bodyPr>
          <a:lstStyle/>
          <a:p>
            <a:pPr algn="r" defTabSz="913309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dirty="0" err="1">
                <a:solidFill>
                  <a:prstClr val="black"/>
                </a:solidFill>
              </a:rPr>
              <a:t>Hồ</a:t>
            </a:r>
            <a:r>
              <a:rPr kumimoji="1" lang="en-US" altLang="ko-KR" sz="1300" dirty="0">
                <a:solidFill>
                  <a:prstClr val="black"/>
                </a:solidFill>
              </a:rPr>
              <a:t> </a:t>
            </a:r>
            <a:r>
              <a:rPr kumimoji="1" lang="en-US" altLang="ko-KR" sz="1300" dirty="0" err="1">
                <a:solidFill>
                  <a:prstClr val="black"/>
                </a:solidFill>
              </a:rPr>
              <a:t>Chí</a:t>
            </a:r>
            <a:r>
              <a:rPr kumimoji="1" lang="en-US" altLang="ko-KR" sz="1300" dirty="0">
                <a:solidFill>
                  <a:prstClr val="black"/>
                </a:solidFill>
              </a:rPr>
              <a:t> Minh</a:t>
            </a:r>
          </a:p>
        </p:txBody>
      </p:sp>
      <p:sp>
        <p:nvSpPr>
          <p:cNvPr id="62" name="모서리가 둥근 직사각형 105"/>
          <p:cNvSpPr/>
          <p:nvPr/>
        </p:nvSpPr>
        <p:spPr>
          <a:xfrm>
            <a:off x="7394690" y="2537578"/>
            <a:ext cx="3917719" cy="12715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78" tIns="60889" rIns="121778" bIns="60889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7711621" y="2395574"/>
            <a:ext cx="1308393" cy="276999"/>
          </a:xfrm>
          <a:prstGeom prst="rect">
            <a:avLst/>
          </a:prstGeom>
          <a:solidFill>
            <a:srgbClr val="17375E"/>
          </a:solidFill>
        </p:spPr>
        <p:txBody>
          <a:bodyPr wrap="square" lIns="0" tIns="0" rIns="0" bIns="0" rtlCol="0">
            <a:spAutoFit/>
          </a:bodyPr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b="1" dirty="0" err="1">
                <a:solidFill>
                  <a:srgbClr val="3FF6FF"/>
                </a:solidFill>
              </a:rPr>
              <a:t>Bắc</a:t>
            </a:r>
            <a:r>
              <a:rPr kumimoji="1" lang="en-US" altLang="ko-KR" b="1" dirty="0">
                <a:solidFill>
                  <a:srgbClr val="3FF6FF"/>
                </a:solidFill>
              </a:rPr>
              <a:t> </a:t>
            </a:r>
            <a:r>
              <a:rPr kumimoji="1" lang="en-US" altLang="ko-KR" b="1" dirty="0" err="1">
                <a:solidFill>
                  <a:srgbClr val="3FF6FF"/>
                </a:solidFill>
              </a:rPr>
              <a:t>Ninh</a:t>
            </a:r>
            <a:endParaRPr kumimoji="1" lang="en-US" altLang="ko-KR" sz="1400" dirty="0">
              <a:solidFill>
                <a:srgbClr val="3FF6FF"/>
              </a:solidFill>
            </a:endParaRPr>
          </a:p>
        </p:txBody>
      </p:sp>
      <p:sp>
        <p:nvSpPr>
          <p:cNvPr id="67" name="타원 22"/>
          <p:cNvSpPr/>
          <p:nvPr/>
        </p:nvSpPr>
        <p:spPr>
          <a:xfrm>
            <a:off x="7571221" y="2465159"/>
            <a:ext cx="139200" cy="137552"/>
          </a:xfrm>
          <a:prstGeom prst="ellipse">
            <a:avLst/>
          </a:prstGeom>
          <a:solidFill>
            <a:srgbClr val="C00000"/>
          </a:solidFill>
          <a:ln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334" tIns="45698" rIns="91334" bIns="45698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9" name="모서리가 둥근 직사각형 105"/>
          <p:cNvSpPr/>
          <p:nvPr/>
        </p:nvSpPr>
        <p:spPr>
          <a:xfrm>
            <a:off x="7394690" y="4105824"/>
            <a:ext cx="3917719" cy="996151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78" tIns="60889" rIns="121778" bIns="60889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7699214" y="3932714"/>
            <a:ext cx="1730375" cy="276999"/>
          </a:xfrm>
          <a:prstGeom prst="rect">
            <a:avLst/>
          </a:prstGeom>
          <a:solidFill>
            <a:srgbClr val="17375E"/>
          </a:solidFill>
        </p:spPr>
        <p:txBody>
          <a:bodyPr wrap="square" lIns="0" tIns="0" rIns="0" bIns="0" rtlCol="0">
            <a:spAutoFit/>
          </a:bodyPr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b="1" dirty="0" err="1">
                <a:solidFill>
                  <a:srgbClr val="3FF6FF"/>
                </a:solidFill>
              </a:rPr>
              <a:t>Thái</a:t>
            </a:r>
            <a:r>
              <a:rPr kumimoji="1" lang="en-US" altLang="ko-KR" b="1" dirty="0">
                <a:solidFill>
                  <a:srgbClr val="3FF6FF"/>
                </a:solidFill>
              </a:rPr>
              <a:t> </a:t>
            </a:r>
            <a:r>
              <a:rPr kumimoji="1" lang="en-US" altLang="ko-KR" b="1" dirty="0" err="1">
                <a:solidFill>
                  <a:srgbClr val="3FF6FF"/>
                </a:solidFill>
              </a:rPr>
              <a:t>Nguyên</a:t>
            </a:r>
            <a:endParaRPr kumimoji="1" lang="en-US" altLang="ko-KR" sz="1400" dirty="0">
              <a:solidFill>
                <a:srgbClr val="3FF6FF"/>
              </a:solidFill>
            </a:endParaRPr>
          </a:p>
        </p:txBody>
      </p:sp>
      <p:sp>
        <p:nvSpPr>
          <p:cNvPr id="71" name="모서리가 둥근 직사각형 105"/>
          <p:cNvSpPr/>
          <p:nvPr/>
        </p:nvSpPr>
        <p:spPr>
          <a:xfrm>
            <a:off x="7394690" y="5332787"/>
            <a:ext cx="3917719" cy="1004369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78" tIns="60889" rIns="121778" bIns="60889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7571222" y="5276802"/>
            <a:ext cx="2363191" cy="276999"/>
          </a:xfrm>
          <a:prstGeom prst="rect">
            <a:avLst/>
          </a:prstGeom>
          <a:solidFill>
            <a:srgbClr val="17375E"/>
          </a:solidFill>
        </p:spPr>
        <p:txBody>
          <a:bodyPr wrap="square" lIns="0" tIns="0" rIns="0" bIns="0" rtlCol="0">
            <a:spAutoFit/>
          </a:bodyPr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b="1" dirty="0">
                <a:solidFill>
                  <a:srgbClr val="3FF6FF"/>
                </a:solidFill>
              </a:rPr>
              <a:t>TP. </a:t>
            </a:r>
            <a:r>
              <a:rPr kumimoji="1" lang="en-US" altLang="ko-KR" b="1" dirty="0" err="1">
                <a:solidFill>
                  <a:srgbClr val="3FF6FF"/>
                </a:solidFill>
              </a:rPr>
              <a:t>Hồ</a:t>
            </a:r>
            <a:r>
              <a:rPr kumimoji="1" lang="en-US" altLang="ko-KR" b="1" dirty="0">
                <a:solidFill>
                  <a:srgbClr val="3FF6FF"/>
                </a:solidFill>
              </a:rPr>
              <a:t> </a:t>
            </a:r>
            <a:r>
              <a:rPr kumimoji="1" lang="en-US" altLang="ko-KR" b="1" dirty="0" err="1">
                <a:solidFill>
                  <a:srgbClr val="3FF6FF"/>
                </a:solidFill>
              </a:rPr>
              <a:t>Chí</a:t>
            </a:r>
            <a:r>
              <a:rPr kumimoji="1" lang="en-US" altLang="ko-KR" b="1" dirty="0">
                <a:solidFill>
                  <a:srgbClr val="3FF6FF"/>
                </a:solidFill>
              </a:rPr>
              <a:t> Minh</a:t>
            </a:r>
            <a:endParaRPr kumimoji="1" lang="en-US" altLang="ko-KR" sz="1400" dirty="0">
              <a:solidFill>
                <a:srgbClr val="3FF6FF"/>
              </a:solidFill>
            </a:endParaRPr>
          </a:p>
        </p:txBody>
      </p:sp>
      <p:sp>
        <p:nvSpPr>
          <p:cNvPr id="76" name="타원 22"/>
          <p:cNvSpPr/>
          <p:nvPr/>
        </p:nvSpPr>
        <p:spPr>
          <a:xfrm>
            <a:off x="7571221" y="5361232"/>
            <a:ext cx="139200" cy="137552"/>
          </a:xfrm>
          <a:prstGeom prst="ellipse">
            <a:avLst/>
          </a:prstGeom>
          <a:solidFill>
            <a:srgbClr val="00B050"/>
          </a:solidFill>
          <a:ln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334" tIns="45698" rIns="91334" bIns="45698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  <a:cs typeface="Arial" panose="020B0604020202020204" pitchFamily="34" charset="0"/>
            </a:endParaRPr>
          </a:p>
        </p:txBody>
      </p:sp>
      <p:sp>
        <p:nvSpPr>
          <p:cNvPr id="68" name="타원 22"/>
          <p:cNvSpPr/>
          <p:nvPr/>
        </p:nvSpPr>
        <p:spPr>
          <a:xfrm>
            <a:off x="7571221" y="4031208"/>
            <a:ext cx="139200" cy="137552"/>
          </a:xfrm>
          <a:prstGeom prst="ellipse">
            <a:avLst/>
          </a:prstGeom>
          <a:solidFill>
            <a:srgbClr val="0070C0"/>
          </a:solidFill>
          <a:ln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334" tIns="45698" rIns="91334" bIns="45698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7151652"/>
              </p:ext>
            </p:extLst>
          </p:nvPr>
        </p:nvGraphicFramePr>
        <p:xfrm>
          <a:off x="7470995" y="2688955"/>
          <a:ext cx="3841413" cy="1097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126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21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367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EV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: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bg1"/>
                          </a:solidFill>
                        </a:rPr>
                        <a:t>Điện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thoại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DIV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: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Pin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8449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DV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: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bg1"/>
                          </a:solidFill>
                        </a:rPr>
                        <a:t>Màn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hình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LCD, OLED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37" name="Tab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314256"/>
              </p:ext>
            </p:extLst>
          </p:nvPr>
        </p:nvGraphicFramePr>
        <p:xfrm>
          <a:off x="7470995" y="4313321"/>
          <a:ext cx="3841412" cy="731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126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400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EVT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: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bg1"/>
                          </a:solidFill>
                        </a:rPr>
                        <a:t>Điện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thoại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EMV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: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Camera,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Bản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mạch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938529"/>
              </p:ext>
            </p:extLst>
          </p:nvPr>
        </p:nvGraphicFramePr>
        <p:xfrm>
          <a:off x="7480499" y="5575208"/>
          <a:ext cx="3831909" cy="731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285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92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3416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EHC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: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 smtClean="0">
                          <a:solidFill>
                            <a:schemeClr val="bg1"/>
                          </a:solidFill>
                        </a:rPr>
                        <a:t>Điện</a:t>
                      </a:r>
                      <a:r>
                        <a:rPr lang="en-US" sz="14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 smtClean="0">
                          <a:solidFill>
                            <a:schemeClr val="bg1"/>
                          </a:solidFill>
                        </a:rPr>
                        <a:t>tử</a:t>
                      </a:r>
                      <a:r>
                        <a:rPr lang="en-US" sz="14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gia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dụng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AVINA</a:t>
                      </a:r>
                    </a:p>
                  </a:txBody>
                  <a:tcPr marL="121920" marR="121920" marT="60960" marB="6096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: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bg1"/>
                          </a:solidFill>
                        </a:rPr>
                        <a:t>Bán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hàng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cxnSp>
        <p:nvCxnSpPr>
          <p:cNvPr id="41" name="직선 연결선 4"/>
          <p:cNvCxnSpPr>
            <a:endCxn id="23" idx="1"/>
          </p:cNvCxnSpPr>
          <p:nvPr/>
        </p:nvCxnSpPr>
        <p:spPr>
          <a:xfrm>
            <a:off x="2984894" y="1766330"/>
            <a:ext cx="1750251" cy="1414342"/>
          </a:xfrm>
          <a:prstGeom prst="bentConnector3">
            <a:avLst>
              <a:gd name="adj1" fmla="val 50000"/>
            </a:avLst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타원 22"/>
          <p:cNvSpPr/>
          <p:nvPr/>
        </p:nvSpPr>
        <p:spPr>
          <a:xfrm>
            <a:off x="2661989" y="1725044"/>
            <a:ext cx="139200" cy="137552"/>
          </a:xfrm>
          <a:prstGeom prst="ellipse">
            <a:avLst/>
          </a:prstGeom>
          <a:solidFill>
            <a:srgbClr val="FFFF00"/>
          </a:solidFill>
          <a:ln>
            <a:solidFill>
              <a:srgbClr val="FFFF99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334" tIns="45698" rIns="91334" bIns="45698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  <a:cs typeface="Arial" panose="020B0604020202020204" pitchFamily="34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67ECA868-CEA4-6841-B57C-5A683539EDD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60" t="3924" r="48058"/>
          <a:stretch/>
        </p:blipFill>
        <p:spPr>
          <a:xfrm>
            <a:off x="4719449" y="983568"/>
            <a:ext cx="1589130" cy="1219666"/>
          </a:xfrm>
          <a:prstGeom prst="rect">
            <a:avLst/>
          </a:prstGeom>
        </p:spPr>
      </p:pic>
      <p:sp>
        <p:nvSpPr>
          <p:cNvPr id="51" name="모서리가 둥근 직사각형 105"/>
          <p:cNvSpPr/>
          <p:nvPr/>
        </p:nvSpPr>
        <p:spPr>
          <a:xfrm>
            <a:off x="7394689" y="1161765"/>
            <a:ext cx="3917719" cy="987180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78" tIns="60889" rIns="121778" bIns="60889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711620" y="1019760"/>
            <a:ext cx="1041197" cy="276999"/>
          </a:xfrm>
          <a:prstGeom prst="rect">
            <a:avLst/>
          </a:prstGeom>
          <a:solidFill>
            <a:srgbClr val="17375E"/>
          </a:solidFill>
        </p:spPr>
        <p:txBody>
          <a:bodyPr wrap="square" lIns="0" tIns="0" rIns="0" bIns="0" rtlCol="0">
            <a:spAutoFit/>
          </a:bodyPr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b="1" dirty="0" err="1">
                <a:solidFill>
                  <a:srgbClr val="3FF6FF"/>
                </a:solidFill>
              </a:rPr>
              <a:t>Hà</a:t>
            </a:r>
            <a:r>
              <a:rPr kumimoji="1" lang="en-US" altLang="ko-KR" b="1" dirty="0">
                <a:solidFill>
                  <a:srgbClr val="3FF6FF"/>
                </a:solidFill>
              </a:rPr>
              <a:t> </a:t>
            </a:r>
            <a:r>
              <a:rPr kumimoji="1" lang="en-US" altLang="ko-KR" b="1" dirty="0" err="1">
                <a:solidFill>
                  <a:srgbClr val="3FF6FF"/>
                </a:solidFill>
              </a:rPr>
              <a:t>Nội</a:t>
            </a:r>
            <a:endParaRPr kumimoji="1" lang="en-US" altLang="ko-KR" sz="1400" dirty="0">
              <a:solidFill>
                <a:srgbClr val="3FF6FF"/>
              </a:solidFill>
            </a:endParaRPr>
          </a:p>
        </p:txBody>
      </p:sp>
      <p:sp>
        <p:nvSpPr>
          <p:cNvPr id="53" name="타원 22"/>
          <p:cNvSpPr/>
          <p:nvPr/>
        </p:nvSpPr>
        <p:spPr>
          <a:xfrm>
            <a:off x="7571220" y="1089345"/>
            <a:ext cx="139200" cy="137552"/>
          </a:xfrm>
          <a:prstGeom prst="ellipse">
            <a:avLst/>
          </a:prstGeom>
          <a:solidFill>
            <a:srgbClr val="FFFF00"/>
          </a:solidFill>
          <a:ln>
            <a:solidFill>
              <a:srgbClr val="FFFF99"/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1334" tIns="45698" rIns="91334" bIns="45698" rtlCol="0" anchor="ctr"/>
          <a:lstStyle/>
          <a:p>
            <a:pPr algn="ctr" defTabSz="913309" fontAlgn="base" latinLnBrk="0">
              <a:spcBef>
                <a:spcPct val="0"/>
              </a:spcBef>
              <a:spcAft>
                <a:spcPct val="0"/>
              </a:spcAft>
            </a:pPr>
            <a:endParaRPr kumimoji="1" lang="ko-KR" altLang="en-US" sz="1900">
              <a:solidFill>
                <a:prstClr val="white"/>
              </a:solidFill>
              <a:latin typeface="굴림" panose="020B0600000101010101" pitchFamily="50" charset="-127"/>
              <a:ea typeface="굴림" panose="020B0600000101010101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54" name="Tab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3868965"/>
              </p:ext>
            </p:extLst>
          </p:nvPr>
        </p:nvGraphicFramePr>
        <p:xfrm>
          <a:off x="7470994" y="1402041"/>
          <a:ext cx="3793906" cy="5486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800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02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257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>SVMC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: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bg1"/>
                          </a:solidFill>
                        </a:rPr>
                        <a:t>Nghiên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cứu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phát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triển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br>
                        <a:rPr lang="en-US" sz="1400" b="1" baseline="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phần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mềm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di </a:t>
                      </a:r>
                      <a:r>
                        <a:rPr lang="en-US" sz="1400" b="1" baseline="0" dirty="0" err="1">
                          <a:solidFill>
                            <a:schemeClr val="bg1"/>
                          </a:solidFill>
                        </a:rPr>
                        <a:t>động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cxnSp>
        <p:nvCxnSpPr>
          <p:cNvPr id="55" name="직선 연결선 4"/>
          <p:cNvCxnSpPr>
            <a:endCxn id="49" idx="1"/>
          </p:cNvCxnSpPr>
          <p:nvPr/>
        </p:nvCxnSpPr>
        <p:spPr>
          <a:xfrm flipV="1">
            <a:off x="2839789" y="1593401"/>
            <a:ext cx="1879660" cy="175020"/>
          </a:xfrm>
          <a:prstGeom prst="bentConnector3">
            <a:avLst>
              <a:gd name="adj1" fmla="val -5311"/>
            </a:avLst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876429" y="1810203"/>
            <a:ext cx="1198587" cy="328295"/>
          </a:xfrm>
          <a:prstGeom prst="rect">
            <a:avLst/>
          </a:prstGeom>
          <a:noFill/>
        </p:spPr>
        <p:txBody>
          <a:bodyPr wrap="square" lIns="121778" tIns="60889" rIns="121778" bIns="60889" rtlCol="0">
            <a:spAutoFit/>
          </a:bodyPr>
          <a:lstStyle/>
          <a:p>
            <a:pPr algn="r" defTabSz="913309" fontAlgn="base" latinLnBrk="0">
              <a:spcBef>
                <a:spcPct val="0"/>
              </a:spcBef>
              <a:spcAft>
                <a:spcPct val="0"/>
              </a:spcAft>
            </a:pPr>
            <a:r>
              <a:rPr kumimoji="1" lang="en-US" altLang="ko-KR" sz="1300" dirty="0" err="1">
                <a:solidFill>
                  <a:prstClr val="black"/>
                </a:solidFill>
              </a:rPr>
              <a:t>Hà</a:t>
            </a:r>
            <a:r>
              <a:rPr kumimoji="1" lang="en-US" altLang="ko-KR" sz="1300" dirty="0">
                <a:solidFill>
                  <a:prstClr val="black"/>
                </a:solidFill>
              </a:rPr>
              <a:t> </a:t>
            </a:r>
            <a:r>
              <a:rPr kumimoji="1" lang="en-US" altLang="ko-KR" sz="1300" dirty="0" err="1">
                <a:solidFill>
                  <a:prstClr val="black"/>
                </a:solidFill>
              </a:rPr>
              <a:t>Nội</a:t>
            </a:r>
            <a:endParaRPr kumimoji="1" lang="en-US" altLang="ko-KR" sz="1300" dirty="0">
              <a:solidFill>
                <a:prstClr val="black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735146" y="227492"/>
            <a:ext cx="67704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b="1" dirty="0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Ỳ THI GSAT - </a:t>
            </a:r>
            <a:r>
              <a:rPr lang="en-US" altLang="ko-KR" b="1" dirty="0" err="1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áng</a:t>
            </a:r>
            <a:r>
              <a:rPr lang="en-US" altLang="ko-KR" b="1" dirty="0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5 &amp; </a:t>
            </a:r>
            <a:r>
              <a:rPr lang="en-US" altLang="ko-KR" b="1" dirty="0" err="1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áng</a:t>
            </a:r>
            <a:r>
              <a:rPr lang="en-US" altLang="ko-KR" b="1" dirty="0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0 </a:t>
            </a:r>
            <a:r>
              <a:rPr lang="en-US" altLang="ko-KR" b="1" dirty="0" err="1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àng</a:t>
            </a:r>
            <a:r>
              <a:rPr lang="en-US" altLang="ko-KR" b="1" dirty="0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b="1" dirty="0" err="1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ăm</a:t>
            </a:r>
            <a:endParaRPr lang="ko-KR" altLang="en-US" b="1" dirty="0">
              <a:solidFill>
                <a:srgbClr val="FFFF00"/>
              </a:solidFill>
              <a:latin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99640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150785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/>
          <p:cNvGrpSpPr/>
          <p:nvPr/>
        </p:nvGrpSpPr>
        <p:grpSpPr>
          <a:xfrm>
            <a:off x="2027359" y="1268391"/>
            <a:ext cx="8128000" cy="5418667"/>
            <a:chOff x="2032000" y="247650"/>
            <a:chExt cx="8128000" cy="5418667"/>
          </a:xfrm>
        </p:grpSpPr>
        <p:graphicFrame>
          <p:nvGraphicFramePr>
            <p:cNvPr id="4" name="Diagram 3"/>
            <p:cNvGraphicFramePr/>
            <p:nvPr>
              <p:extLst/>
            </p:nvPr>
          </p:nvGraphicFramePr>
          <p:xfrm>
            <a:off x="2032000" y="247650"/>
            <a:ext cx="8128000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06163" y="304800"/>
              <a:ext cx="2170393" cy="175260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12288" y="1819275"/>
              <a:ext cx="2130847" cy="1466850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62923" y="1857374"/>
              <a:ext cx="1428751" cy="1428751"/>
            </a:xfrm>
            <a:prstGeom prst="rect">
              <a:avLst/>
            </a:prstGeom>
          </p:spPr>
        </p:pic>
      </p:grpSp>
      <p:pic>
        <p:nvPicPr>
          <p:cNvPr id="8" name="Picture 3"/>
          <p:cNvPicPr>
            <a:picLocks noChangeAspect="1"/>
          </p:cNvPicPr>
          <p:nvPr/>
        </p:nvPicPr>
        <p:blipFill rotWithShape="1">
          <a:blip r:embed="rId1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04" t="4851" r="21481" b="5370"/>
          <a:stretch/>
        </p:blipFill>
        <p:spPr>
          <a:xfrm>
            <a:off x="637988" y="2494896"/>
            <a:ext cx="638177" cy="746396"/>
          </a:xfrm>
          <a:prstGeom prst="rect">
            <a:avLst/>
          </a:prstGeom>
        </p:spPr>
      </p:pic>
      <p:pic>
        <p:nvPicPr>
          <p:cNvPr id="9" name="Picture 31"/>
          <p:cNvPicPr>
            <a:picLocks noChangeAspect="1"/>
          </p:cNvPicPr>
          <p:nvPr/>
        </p:nvPicPr>
        <p:blipFill>
          <a:blip r:embed="rId1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03" y="3572552"/>
            <a:ext cx="810346" cy="810346"/>
          </a:xfrm>
          <a:prstGeom prst="rect">
            <a:avLst/>
          </a:prstGeom>
        </p:spPr>
      </p:pic>
      <p:pic>
        <p:nvPicPr>
          <p:cNvPr id="10" name="Picture 32"/>
          <p:cNvPicPr>
            <a:picLocks noChangeAspect="1"/>
          </p:cNvPicPr>
          <p:nvPr/>
        </p:nvPicPr>
        <p:blipFill rotWithShape="1">
          <a:blip r:embed="rId1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97" r="25437"/>
          <a:stretch/>
        </p:blipFill>
        <p:spPr>
          <a:xfrm>
            <a:off x="563257" y="1196281"/>
            <a:ext cx="787641" cy="923639"/>
          </a:xfrm>
          <a:prstGeom prst="rect">
            <a:avLst/>
          </a:prstGeom>
        </p:spPr>
      </p:pic>
      <p:pic>
        <p:nvPicPr>
          <p:cNvPr id="11" name="Picture 33"/>
          <p:cNvPicPr>
            <a:picLocks noChangeAspect="1"/>
          </p:cNvPicPr>
          <p:nvPr/>
        </p:nvPicPr>
        <p:blipFill>
          <a:blip r:embed="rId1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257" y="4723032"/>
            <a:ext cx="847835" cy="847835"/>
          </a:xfrm>
          <a:prstGeom prst="rect">
            <a:avLst/>
          </a:prstGeom>
        </p:spPr>
      </p:pic>
      <p:pic>
        <p:nvPicPr>
          <p:cNvPr id="12" name="Picture 34"/>
          <p:cNvPicPr>
            <a:picLocks noChangeAspect="1"/>
          </p:cNvPicPr>
          <p:nvPr/>
        </p:nvPicPr>
        <p:blipFill>
          <a:blip r:embed="rId1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7276" y="4669589"/>
            <a:ext cx="678744" cy="678744"/>
          </a:xfrm>
          <a:prstGeom prst="rect">
            <a:avLst/>
          </a:prstGeom>
        </p:spPr>
      </p:pic>
      <p:pic>
        <p:nvPicPr>
          <p:cNvPr id="13" name="Picture 35"/>
          <p:cNvPicPr>
            <a:picLocks noChangeAspect="1"/>
          </p:cNvPicPr>
          <p:nvPr/>
        </p:nvPicPr>
        <p:blipFill>
          <a:blip r:embed="rId1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299" y="1285934"/>
            <a:ext cx="839254" cy="839254"/>
          </a:xfrm>
          <a:prstGeom prst="rect">
            <a:avLst/>
          </a:prstGeom>
        </p:spPr>
      </p:pic>
      <p:pic>
        <p:nvPicPr>
          <p:cNvPr id="14" name="Picture 36"/>
          <p:cNvPicPr>
            <a:picLocks noChangeAspect="1"/>
          </p:cNvPicPr>
          <p:nvPr/>
        </p:nvPicPr>
        <p:blipFill>
          <a:blip r:embed="rId1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353" y="5839231"/>
            <a:ext cx="734070" cy="734070"/>
          </a:xfrm>
          <a:prstGeom prst="rect">
            <a:avLst/>
          </a:prstGeom>
        </p:spPr>
      </p:pic>
      <p:pic>
        <p:nvPicPr>
          <p:cNvPr id="15" name="Picture 37"/>
          <p:cNvPicPr>
            <a:picLocks noChangeAspect="1"/>
          </p:cNvPicPr>
          <p:nvPr/>
        </p:nvPicPr>
        <p:blipFill>
          <a:blip r:embed="rId1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0574" y="2411845"/>
            <a:ext cx="818543" cy="815268"/>
          </a:xfrm>
          <a:prstGeom prst="rect">
            <a:avLst/>
          </a:prstGeom>
        </p:spPr>
      </p:pic>
      <p:pic>
        <p:nvPicPr>
          <p:cNvPr id="16" name="Picture 38"/>
          <p:cNvPicPr>
            <a:picLocks noChangeAspect="1"/>
          </p:cNvPicPr>
          <p:nvPr/>
        </p:nvPicPr>
        <p:blipFill>
          <a:blip r:embed="rId1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3124" y="3538159"/>
            <a:ext cx="798429" cy="767146"/>
          </a:xfrm>
          <a:prstGeom prst="rect">
            <a:avLst/>
          </a:prstGeom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 rotWithShape="1">
          <a:blip r:embed="rId20">
            <a:grayscl/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7490" b="67408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5103"/>
          <a:stretch/>
        </p:blipFill>
        <p:spPr bwMode="auto">
          <a:xfrm>
            <a:off x="10772646" y="5687161"/>
            <a:ext cx="1319535" cy="949204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제목 1"/>
          <p:cNvSpPr txBox="1">
            <a:spLocks/>
          </p:cNvSpPr>
          <p:nvPr/>
        </p:nvSpPr>
        <p:spPr>
          <a:xfrm>
            <a:off x="400050" y="67875"/>
            <a:ext cx="11508770" cy="9495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altLang="ko-KR" sz="2400" b="1" dirty="0" err="1">
                <a:latin typeface="Verdana" panose="020B0604030504040204" pitchFamily="34" charset="0"/>
              </a:rPr>
              <a:t>Quan</a:t>
            </a:r>
            <a:r>
              <a:rPr lang="en-US" altLang="ko-KR" sz="2400" b="1" dirty="0">
                <a:latin typeface="Verdana" panose="020B0604030504040204" pitchFamily="34" charset="0"/>
              </a:rPr>
              <a:t> </a:t>
            </a:r>
            <a:r>
              <a:rPr lang="en-US" altLang="ko-KR" sz="2400" b="1" dirty="0" err="1">
                <a:latin typeface="Verdana" panose="020B0604030504040204" pitchFamily="34" charset="0"/>
              </a:rPr>
              <a:t>hệ</a:t>
            </a:r>
            <a:r>
              <a:rPr lang="en-US" altLang="ko-KR" sz="2400" b="1" dirty="0">
                <a:latin typeface="Verdana" panose="020B0604030504040204" pitchFamily="34" charset="0"/>
              </a:rPr>
              <a:t> </a:t>
            </a:r>
            <a:r>
              <a:rPr lang="en-US" altLang="ko-KR" sz="2400" b="1" dirty="0" err="1">
                <a:latin typeface="Verdana" panose="020B0604030504040204" pitchFamily="34" charset="0"/>
              </a:rPr>
              <a:t>hợp</a:t>
            </a:r>
            <a:r>
              <a:rPr lang="en-US" altLang="ko-KR" sz="2400" b="1" dirty="0">
                <a:latin typeface="Verdana" panose="020B0604030504040204" pitchFamily="34" charset="0"/>
              </a:rPr>
              <a:t> </a:t>
            </a:r>
            <a:r>
              <a:rPr lang="en-US" altLang="ko-KR" sz="2400" b="1" dirty="0" err="1">
                <a:latin typeface="Verdana" panose="020B0604030504040204" pitchFamily="34" charset="0"/>
              </a:rPr>
              <a:t>tác</a:t>
            </a:r>
            <a:r>
              <a:rPr lang="en-US" altLang="ko-KR" sz="2400" b="1" dirty="0">
                <a:latin typeface="Verdana" panose="020B0604030504040204" pitchFamily="34" charset="0"/>
              </a:rPr>
              <a:t> </a:t>
            </a:r>
            <a:r>
              <a:rPr lang="en-US" altLang="ko-KR" sz="2400" b="1" dirty="0" err="1">
                <a:latin typeface="Verdana" panose="020B0604030504040204" pitchFamily="34" charset="0"/>
              </a:rPr>
              <a:t>giữa</a:t>
            </a:r>
            <a:r>
              <a:rPr lang="en-US" altLang="ko-KR" sz="2400" b="1" dirty="0">
                <a:latin typeface="Verdana" panose="020B0604030504040204" pitchFamily="34" charset="0"/>
              </a:rPr>
              <a:t> Samsung </a:t>
            </a:r>
            <a:r>
              <a:rPr lang="en-US" altLang="ko-KR" sz="2400" b="1" dirty="0" err="1">
                <a:latin typeface="Verdana" panose="020B0604030504040204" pitchFamily="34" charset="0"/>
              </a:rPr>
              <a:t>Việt</a:t>
            </a:r>
            <a:r>
              <a:rPr lang="en-US" altLang="ko-KR" sz="2400" b="1" dirty="0">
                <a:latin typeface="Verdana" panose="020B0604030504040204" pitchFamily="34" charset="0"/>
              </a:rPr>
              <a:t> Nam &amp; </a:t>
            </a:r>
            <a:r>
              <a:rPr lang="en-US" altLang="ko-KR" sz="2400" b="1" dirty="0" err="1">
                <a:latin typeface="Verdana" panose="020B0604030504040204" pitchFamily="34" charset="0"/>
              </a:rPr>
              <a:t>các</a:t>
            </a:r>
            <a:r>
              <a:rPr lang="en-US" altLang="ko-KR" sz="2400" b="1" dirty="0">
                <a:latin typeface="Verdana" panose="020B0604030504040204" pitchFamily="34" charset="0"/>
              </a:rPr>
              <a:t> </a:t>
            </a:r>
            <a:r>
              <a:rPr lang="en-US" altLang="ko-KR" sz="2400" b="1" dirty="0" err="1">
                <a:latin typeface="Verdana" panose="020B0604030504040204" pitchFamily="34" charset="0"/>
              </a:rPr>
              <a:t>trường</a:t>
            </a:r>
            <a:r>
              <a:rPr lang="en-US" altLang="ko-KR" sz="2400" b="1" dirty="0">
                <a:latin typeface="Verdana" panose="020B0604030504040204" pitchFamily="34" charset="0"/>
              </a:rPr>
              <a:t> </a:t>
            </a:r>
            <a:r>
              <a:rPr lang="en-US" altLang="ko-KR" sz="2400" b="1" dirty="0" err="1">
                <a:latin typeface="Verdana" panose="020B0604030504040204" pitchFamily="34" charset="0"/>
              </a:rPr>
              <a:t>đại</a:t>
            </a:r>
            <a:r>
              <a:rPr lang="en-US" altLang="ko-KR" sz="2400" b="1" dirty="0">
                <a:latin typeface="Verdana" panose="020B0604030504040204" pitchFamily="34" charset="0"/>
              </a:rPr>
              <a:t> </a:t>
            </a:r>
            <a:r>
              <a:rPr lang="en-US" altLang="ko-KR" sz="2400" b="1" dirty="0" err="1">
                <a:latin typeface="Verdana" panose="020B0604030504040204" pitchFamily="34" charset="0"/>
              </a:rPr>
              <a:t>học</a:t>
            </a:r>
            <a:r>
              <a:rPr lang="en-US" altLang="ko-KR" sz="2400" b="1" dirty="0">
                <a:latin typeface="Verdana" panose="020B0604030504040204" pitchFamily="34" charset="0"/>
              </a:rPr>
              <a:t> ICT</a:t>
            </a:r>
            <a:endParaRPr lang="ko-KR" altLang="en-US" sz="2400" b="1" dirty="0">
              <a:latin typeface="Verdana" panose="020B060403050404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1286" y="4742082"/>
            <a:ext cx="2170098" cy="1720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6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323" y="201591"/>
            <a:ext cx="1378148" cy="1112859"/>
          </a:xfrm>
          <a:prstGeom prst="rect">
            <a:avLst/>
          </a:prstGeom>
        </p:spPr>
      </p:pic>
      <p:sp>
        <p:nvSpPr>
          <p:cNvPr id="6" name="제목 1"/>
          <p:cNvSpPr txBox="1">
            <a:spLocks/>
          </p:cNvSpPr>
          <p:nvPr/>
        </p:nvSpPr>
        <p:spPr>
          <a:xfrm>
            <a:off x="1812149" y="283240"/>
            <a:ext cx="10151252" cy="949560"/>
          </a:xfrm>
          <a:prstGeom prst="rect">
            <a:avLst/>
          </a:prstGeom>
        </p:spPr>
        <p:txBody>
          <a:bodyPr vert="horz" lIns="91249" tIns="45626" rIns="91249" bIns="45626" rtlCol="0" anchor="ctr">
            <a:norm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800" b="1" dirty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2800" b="1" dirty="0" err="1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Học</a:t>
            </a:r>
            <a:r>
              <a:rPr lang="en-US" altLang="ko-KR" sz="2800" b="1" dirty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2800" b="1" dirty="0" err="1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bổng</a:t>
            </a:r>
            <a:r>
              <a:rPr lang="en-US" altLang="ko-KR" sz="2800" b="1" dirty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2800" b="1" dirty="0" err="1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tài</a:t>
            </a:r>
            <a:r>
              <a:rPr lang="en-US" altLang="ko-KR" sz="2800" b="1" dirty="0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2800" b="1" dirty="0" err="1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năng</a:t>
            </a:r>
            <a:r>
              <a:rPr lang="en-US" altLang="ko-KR" sz="2800" b="1" dirty="0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Samsung - STP</a:t>
            </a:r>
            <a:endParaRPr lang="en-US" altLang="ko-KR" sz="2800" b="1" dirty="0">
              <a:solidFill>
                <a:srgbClr val="002060"/>
              </a:solidFill>
              <a:latin typeface="Verdana" panose="020B0604030504040204" pitchFamily="34" charset="0"/>
              <a:ea typeface="Malgun Gothic" panose="020B0503020000020004" pitchFamily="34" charset="-127"/>
            </a:endParaRPr>
          </a:p>
        </p:txBody>
      </p:sp>
      <p:graphicFrame>
        <p:nvGraphicFramePr>
          <p:cNvPr id="7" name="Chart 64"/>
          <p:cNvGraphicFramePr/>
          <p:nvPr>
            <p:extLst/>
          </p:nvPr>
        </p:nvGraphicFramePr>
        <p:xfrm>
          <a:off x="6286500" y="2155354"/>
          <a:ext cx="5353049" cy="4436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tangle 24"/>
          <p:cNvSpPr>
            <a:spLocks noChangeArrowheads="1"/>
          </p:cNvSpPr>
          <p:nvPr/>
        </p:nvSpPr>
        <p:spPr bwMode="auto">
          <a:xfrm>
            <a:off x="6409411" y="1418875"/>
            <a:ext cx="5107225" cy="36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8" tIns="45704" rIns="91408" bIns="45704">
            <a:spAutoFit/>
          </a:bodyPr>
          <a:lstStyle>
            <a:lvl1pPr eaLnBrk="0" latinLnBrk="1" hangingPunct="0">
              <a:spcBef>
                <a:spcPct val="20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1pPr>
            <a:lvl2pPr marL="742950" indent="-285750" eaLnBrk="0" latinLnBrk="1" hangingPunct="0">
              <a:spcBef>
                <a:spcPct val="20000"/>
              </a:spcBef>
              <a:buFont typeface="Arial" pitchFamily="34" charset="0"/>
              <a:buChar char="–"/>
              <a:defRPr sz="25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2pPr>
            <a:lvl3pPr marL="1143000" indent="-228600" eaLnBrk="0" latinLnBrk="1" hangingPunct="0">
              <a:spcBef>
                <a:spcPct val="20000"/>
              </a:spcBef>
              <a:buFont typeface="Arial" pitchFamily="34" charset="0"/>
              <a:buChar char="•"/>
              <a:defRPr sz="21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3pPr>
            <a:lvl4pPr marL="1600200" indent="-228600" eaLnBrk="0" latinLnBrk="1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4pPr>
            <a:lvl5pPr marL="2057400" indent="-228600" eaLnBrk="0" latinLnBrk="1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9pPr>
          </a:lstStyle>
          <a:p>
            <a:pPr algn="ctr" eaLnBrk="1" latinLnBrk="0" hangingPunct="1">
              <a:spcBef>
                <a:spcPct val="0"/>
              </a:spcBef>
              <a:buFontTx/>
              <a:buNone/>
            </a:pPr>
            <a:r>
              <a:rPr lang="en-US" altLang="ko-KR" sz="1800" b="1" dirty="0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 </a:t>
            </a:r>
            <a:r>
              <a:rPr lang="en-US" altLang="ko-KR" sz="1800" b="1" dirty="0" err="1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Số</a:t>
            </a:r>
            <a:r>
              <a:rPr lang="en-US" altLang="ko-KR" sz="1800" b="1" dirty="0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 SV </a:t>
            </a:r>
            <a:r>
              <a:rPr lang="en-US" altLang="ko-KR" sz="1800" b="1" dirty="0" err="1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học</a:t>
            </a:r>
            <a:r>
              <a:rPr lang="en-US" altLang="ko-KR" sz="1800" b="1" dirty="0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 </a:t>
            </a:r>
            <a:r>
              <a:rPr lang="en-US" altLang="ko-KR" sz="1800" b="1" dirty="0" err="1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bổng</a:t>
            </a:r>
            <a:r>
              <a:rPr lang="en-US" altLang="ko-KR" sz="1800" b="1" dirty="0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 STP qua </a:t>
            </a:r>
            <a:r>
              <a:rPr lang="en-US" altLang="ko-KR" sz="1800" b="1" dirty="0" err="1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các</a:t>
            </a:r>
            <a:r>
              <a:rPr lang="en-US" altLang="ko-KR" sz="1800" b="1" dirty="0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 </a:t>
            </a:r>
            <a:r>
              <a:rPr lang="en-US" altLang="ko-KR" sz="1800" b="1" dirty="0" err="1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năm</a:t>
            </a:r>
            <a:endParaRPr lang="en-US" altLang="en-US" sz="1800" b="1" dirty="0">
              <a:solidFill>
                <a:srgbClr val="002060"/>
              </a:solidFill>
              <a:latin typeface="Verdana" panose="020B0604030504040204" pitchFamily="34" charset="0"/>
              <a:ea typeface="맑은 고딕" panose="020B0503020000020004" pitchFamily="50" charset="-127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857838" y="2507365"/>
            <a:ext cx="572162" cy="3744000"/>
          </a:xfrm>
          <a:prstGeom prst="rect">
            <a:avLst/>
          </a:prstGeom>
          <a:ln w="3175">
            <a:solidFill>
              <a:srgbClr val="FF0000"/>
            </a:solidFill>
            <a:prstDash val="lgDash"/>
          </a:ln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endParaRPr lang="en-US" b="1" dirty="0">
              <a:solidFill>
                <a:schemeClr val="accent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0" name="Rectangle 24"/>
          <p:cNvSpPr>
            <a:spLocks noChangeArrowheads="1"/>
          </p:cNvSpPr>
          <p:nvPr/>
        </p:nvSpPr>
        <p:spPr bwMode="auto">
          <a:xfrm>
            <a:off x="10435147" y="2155354"/>
            <a:ext cx="1417544" cy="338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8" tIns="45704" rIns="91408" bIns="45704">
            <a:spAutoFit/>
          </a:bodyPr>
          <a:lstStyle>
            <a:lvl1pPr eaLnBrk="0" latinLnBrk="1" hangingPunct="0">
              <a:spcBef>
                <a:spcPct val="20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1pPr>
            <a:lvl2pPr marL="742950" indent="-285750" eaLnBrk="0" latinLnBrk="1" hangingPunct="0">
              <a:spcBef>
                <a:spcPct val="20000"/>
              </a:spcBef>
              <a:buFont typeface="Arial" pitchFamily="34" charset="0"/>
              <a:buChar char="–"/>
              <a:defRPr sz="25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2pPr>
            <a:lvl3pPr marL="1143000" indent="-228600" eaLnBrk="0" latinLnBrk="1" hangingPunct="0">
              <a:spcBef>
                <a:spcPct val="20000"/>
              </a:spcBef>
              <a:buFont typeface="Arial" pitchFamily="34" charset="0"/>
              <a:buChar char="•"/>
              <a:defRPr sz="21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3pPr>
            <a:lvl4pPr marL="1600200" indent="-228600" eaLnBrk="0" latinLnBrk="1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4pPr>
            <a:lvl5pPr marL="2057400" indent="-228600" eaLnBrk="0" latinLnBrk="1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9pPr>
          </a:lstStyle>
          <a:p>
            <a:pPr algn="ctr" eaLnBrk="1" latinLnBrk="0" hangingPunct="1">
              <a:spcBef>
                <a:spcPct val="0"/>
              </a:spcBef>
              <a:buFontTx/>
              <a:buNone/>
            </a:pPr>
            <a:r>
              <a:rPr lang="en-US" altLang="en-US" sz="1600" dirty="0" err="1">
                <a:solidFill>
                  <a:schemeClr val="accent3">
                    <a:lumMod val="10000"/>
                  </a:schemeClr>
                </a:solidFill>
                <a:latin typeface="Verdana" panose="020B0604030504040204" pitchFamily="34" charset="0"/>
                <a:ea typeface="맑은 고딕" panose="020B0503020000020004" pitchFamily="50" charset="-127"/>
                <a:cs typeface="Times New Roman" panose="02020603050405020304" pitchFamily="18" charset="0"/>
              </a:rPr>
              <a:t>Kế</a:t>
            </a:r>
            <a:r>
              <a:rPr lang="en-US" altLang="en-US" sz="1600" dirty="0">
                <a:solidFill>
                  <a:schemeClr val="accent3">
                    <a:lumMod val="10000"/>
                  </a:schemeClr>
                </a:solidFill>
                <a:latin typeface="Verdana" panose="020B0604030504040204" pitchFamily="34" charset="0"/>
                <a:ea typeface="맑은 고딕" panose="020B0503020000020004" pitchFamily="50" charset="-127"/>
                <a:cs typeface="Times New Roman" panose="02020603050405020304" pitchFamily="18" charset="0"/>
              </a:rPr>
              <a:t> </a:t>
            </a:r>
            <a:r>
              <a:rPr lang="en-US" altLang="en-US" sz="1600" dirty="0" err="1">
                <a:solidFill>
                  <a:schemeClr val="accent3">
                    <a:lumMod val="10000"/>
                  </a:schemeClr>
                </a:solidFill>
                <a:latin typeface="Verdana" panose="020B0604030504040204" pitchFamily="34" charset="0"/>
                <a:ea typeface="맑은 고딕" panose="020B0503020000020004" pitchFamily="50" charset="-127"/>
                <a:cs typeface="Times New Roman" panose="02020603050405020304" pitchFamily="18" charset="0"/>
              </a:rPr>
              <a:t>hoạch</a:t>
            </a:r>
            <a:endParaRPr lang="en-US" altLang="en-US" sz="1600" dirty="0">
              <a:solidFill>
                <a:schemeClr val="accent3">
                  <a:lumMod val="10000"/>
                </a:schemeClr>
              </a:solidFill>
              <a:latin typeface="Verdana" panose="020B0604030504040204" pitchFamily="34" charset="0"/>
              <a:ea typeface="맑은 고딕" panose="020B0503020000020004" pitchFamily="50" charset="-127"/>
              <a:cs typeface="Times New Roman" panose="02020603050405020304" pitchFamily="18" charset="0"/>
            </a:endParaRPr>
          </a:p>
        </p:txBody>
      </p:sp>
      <p:cxnSp>
        <p:nvCxnSpPr>
          <p:cNvPr id="12" name="Straight Arrow Connector 11"/>
          <p:cNvCxnSpPr/>
          <p:nvPr/>
        </p:nvCxnSpPr>
        <p:spPr bwMode="auto">
          <a:xfrm>
            <a:off x="6663435" y="2952750"/>
            <a:ext cx="3985515" cy="0"/>
          </a:xfrm>
          <a:prstGeom prst="straightConnector1">
            <a:avLst/>
          </a:prstGeom>
          <a:ln w="28575">
            <a:headEnd type="arrow"/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4" name="Rectangle 24"/>
          <p:cNvSpPr>
            <a:spLocks noChangeArrowheads="1"/>
          </p:cNvSpPr>
          <p:nvPr/>
        </p:nvSpPr>
        <p:spPr bwMode="auto">
          <a:xfrm>
            <a:off x="7200900" y="2349426"/>
            <a:ext cx="3048000" cy="400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8" tIns="45704" rIns="91408" bIns="45704">
            <a:spAutoFit/>
          </a:bodyPr>
          <a:lstStyle>
            <a:lvl1pPr eaLnBrk="0" latinLnBrk="1" hangingPunct="0">
              <a:spcBef>
                <a:spcPct val="20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1pPr>
            <a:lvl2pPr marL="742950" indent="-285750" eaLnBrk="0" latinLnBrk="1" hangingPunct="0">
              <a:spcBef>
                <a:spcPct val="20000"/>
              </a:spcBef>
              <a:buFont typeface="Arial" pitchFamily="34" charset="0"/>
              <a:buChar char="–"/>
              <a:defRPr sz="25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2pPr>
            <a:lvl3pPr marL="1143000" indent="-228600" eaLnBrk="0" latinLnBrk="1" hangingPunct="0">
              <a:spcBef>
                <a:spcPct val="20000"/>
              </a:spcBef>
              <a:buFont typeface="Arial" pitchFamily="34" charset="0"/>
              <a:buChar char="•"/>
              <a:defRPr sz="21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3pPr>
            <a:lvl4pPr marL="1600200" indent="-228600" eaLnBrk="0" latinLnBrk="1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4pPr>
            <a:lvl5pPr marL="2057400" indent="-228600" eaLnBrk="0" latinLnBrk="1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9pPr>
          </a:lstStyle>
          <a:p>
            <a:pPr algn="ctr" eaLnBrk="1" latinLnBrk="0" hangingPunct="1">
              <a:spcBef>
                <a:spcPct val="0"/>
              </a:spcBef>
              <a:buFontTx/>
              <a:buNone/>
            </a:pPr>
            <a:r>
              <a:rPr lang="en-US" altLang="en-US" sz="2000" b="1" dirty="0" err="1">
                <a:solidFill>
                  <a:schemeClr val="accent3">
                    <a:lumMod val="10000"/>
                  </a:schemeClr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Tổng</a:t>
            </a:r>
            <a:r>
              <a:rPr lang="en-US" altLang="en-US" sz="2000" b="1" dirty="0">
                <a:solidFill>
                  <a:schemeClr val="accent3">
                    <a:lumMod val="10000"/>
                  </a:schemeClr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: 536 SV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286500" y="1986849"/>
            <a:ext cx="5353050" cy="4375905"/>
          </a:xfrm>
          <a:prstGeom prst="roundRect">
            <a:avLst>
              <a:gd name="adj" fmla="val 7960"/>
            </a:avLst>
          </a:prstGeom>
          <a:ln w="3175">
            <a:solidFill>
              <a:schemeClr val="accent5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endParaRPr lang="en-US" b="1" dirty="0">
              <a:solidFill>
                <a:schemeClr val="accent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666750" y="1986848"/>
            <a:ext cx="5353050" cy="4375905"/>
          </a:xfrm>
          <a:prstGeom prst="roundRect">
            <a:avLst>
              <a:gd name="adj" fmla="val 7960"/>
            </a:avLst>
          </a:prstGeom>
          <a:ln w="3175">
            <a:solidFill>
              <a:schemeClr val="accent5">
                <a:lumMod val="7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endParaRPr lang="en-US" b="1" dirty="0">
              <a:solidFill>
                <a:schemeClr val="accent1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7" name="Rectangle 24"/>
          <p:cNvSpPr>
            <a:spLocks noChangeArrowheads="1"/>
          </p:cNvSpPr>
          <p:nvPr/>
        </p:nvSpPr>
        <p:spPr bwMode="auto">
          <a:xfrm>
            <a:off x="930773" y="1418845"/>
            <a:ext cx="4825003" cy="36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8" tIns="45704" rIns="91408" bIns="45704">
            <a:spAutoFit/>
          </a:bodyPr>
          <a:lstStyle>
            <a:lvl1pPr eaLnBrk="0" latinLnBrk="1" hangingPunct="0">
              <a:spcBef>
                <a:spcPct val="20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1pPr>
            <a:lvl2pPr marL="742950" indent="-285750" eaLnBrk="0" latinLnBrk="1" hangingPunct="0">
              <a:spcBef>
                <a:spcPct val="20000"/>
              </a:spcBef>
              <a:buFont typeface="Arial" pitchFamily="34" charset="0"/>
              <a:buChar char="–"/>
              <a:defRPr sz="25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2pPr>
            <a:lvl3pPr marL="1143000" indent="-228600" eaLnBrk="0" latinLnBrk="1" hangingPunct="0">
              <a:spcBef>
                <a:spcPct val="20000"/>
              </a:spcBef>
              <a:buFont typeface="Arial" pitchFamily="34" charset="0"/>
              <a:buChar char="•"/>
              <a:defRPr sz="21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3pPr>
            <a:lvl4pPr marL="1600200" indent="-228600" eaLnBrk="0" latinLnBrk="1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4pPr>
            <a:lvl5pPr marL="2057400" indent="-228600" eaLnBrk="0" latinLnBrk="1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9pPr>
          </a:lstStyle>
          <a:p>
            <a:pPr algn="ctr" eaLnBrk="1" latinLnBrk="0" hangingPunct="1">
              <a:spcBef>
                <a:spcPct val="0"/>
              </a:spcBef>
              <a:buFontTx/>
              <a:buNone/>
            </a:pPr>
            <a:r>
              <a:rPr lang="en-US" altLang="ko-KR" sz="1800" b="1" dirty="0" err="1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Quyền</a:t>
            </a:r>
            <a:r>
              <a:rPr lang="en-US" altLang="ko-KR" sz="1800" b="1" dirty="0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 </a:t>
            </a:r>
            <a:r>
              <a:rPr lang="en-US" altLang="ko-KR" sz="1800" b="1" dirty="0" err="1" smtClean="0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lợi</a:t>
            </a:r>
            <a:r>
              <a:rPr lang="en-US" altLang="ko-KR" sz="1800" b="1" dirty="0" smtClean="0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 </a:t>
            </a:r>
            <a:r>
              <a:rPr lang="en-US" altLang="ko-KR" sz="1800" b="1" dirty="0" err="1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học</a:t>
            </a:r>
            <a:r>
              <a:rPr lang="en-US" altLang="ko-KR" sz="1800" b="1" dirty="0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 </a:t>
            </a:r>
            <a:r>
              <a:rPr lang="en-US" altLang="ko-KR" sz="1800" b="1" dirty="0" err="1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bổng</a:t>
            </a:r>
            <a:r>
              <a:rPr lang="en-US" altLang="ko-KR" sz="1800" b="1" dirty="0">
                <a:solidFill>
                  <a:srgbClr val="002060"/>
                </a:solidFill>
                <a:latin typeface="Verdana" panose="020B0604030504040204" pitchFamily="34" charset="0"/>
                <a:ea typeface="맑은 고딕" panose="020B0503020000020004" pitchFamily="50" charset="-127"/>
              </a:rPr>
              <a:t> STP</a:t>
            </a:r>
            <a:endParaRPr lang="en-US" altLang="en-US" sz="1800" b="1" dirty="0">
              <a:solidFill>
                <a:srgbClr val="002060"/>
              </a:solidFill>
              <a:latin typeface="Verdana" panose="020B0604030504040204" pitchFamily="34" charset="0"/>
              <a:ea typeface="맑은 고딕" panose="020B0503020000020004" pitchFamily="50" charset="-127"/>
            </a:endParaRPr>
          </a:p>
        </p:txBody>
      </p:sp>
      <p:pic>
        <p:nvPicPr>
          <p:cNvPr id="18" name="Picture 9" descr="C:\Users\admin\AppData\Local\Microsoft\Windows\Temporary Internet Files\Content.IE5\TNRQ1HQU\gift-148060_960_720[1]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49" y="2374770"/>
            <a:ext cx="871173" cy="951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49" y="5024053"/>
            <a:ext cx="1024991" cy="1024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 Placeholder 5"/>
          <p:cNvSpPr txBox="1">
            <a:spLocks/>
          </p:cNvSpPr>
          <p:nvPr/>
        </p:nvSpPr>
        <p:spPr>
          <a:xfrm>
            <a:off x="2094789" y="2200076"/>
            <a:ext cx="3810711" cy="1324173"/>
          </a:xfrm>
          <a:prstGeom prst="rect">
            <a:avLst/>
          </a:prstGeom>
        </p:spPr>
        <p:txBody>
          <a:bodyPr lIns="60782" tIns="30391" rIns="60782" bIns="30391">
            <a:noAutofit/>
          </a:bodyPr>
          <a:lstStyle>
            <a:lvl1pPr marL="0" indent="0" algn="l" defTabSz="685783" rtl="0" eaLnBrk="1" latinLnBrk="0" hangingPunct="1">
              <a:lnSpc>
                <a:spcPct val="12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US" sz="9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Lato Regular"/>
                <a:ea typeface="Open Sans Light" panose="020B0306030504020204" pitchFamily="34" charset="0"/>
                <a:cs typeface="Lato Regular"/>
              </a:defRPr>
            </a:lvl1pPr>
            <a:lvl2pPr marL="51433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2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20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12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65 </a:t>
            </a:r>
            <a:r>
              <a:rPr lang="en-US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triệu</a:t>
            </a:r>
            <a:r>
              <a:rPr lang="en-US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đồng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/SV</a:t>
            </a:r>
            <a:b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</a:b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(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dành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cho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sinh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viên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năm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thứ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4)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v"/>
            </a:pP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113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triệu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đồng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/SV</a:t>
            </a:r>
            <a:b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</a:b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(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dành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cho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sinh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viên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năm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thứ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</a:rPr>
              <a:t> 3)</a:t>
            </a:r>
            <a:endParaRPr lang="en-US" sz="1600" dirty="0">
              <a:solidFill>
                <a:schemeClr val="tx1"/>
              </a:solidFill>
              <a:latin typeface="Verdana" panose="020B0604030504040204" pitchFamily="34" charset="0"/>
              <a:ea typeface="맑은 고딕" pitchFamily="50" charset="-127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1028749" y="3822461"/>
            <a:ext cx="4590375" cy="940261"/>
            <a:chOff x="1028749" y="3670061"/>
            <a:chExt cx="4590375" cy="940261"/>
          </a:xfrm>
        </p:grpSpPr>
        <p:pic>
          <p:nvPicPr>
            <p:cNvPr id="20" name="Picture 5" descr="computer engineering, computing, programmer, software engineer, web developer, workstation icon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8863" y="3670061"/>
              <a:ext cx="940261" cy="9402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 Placeholder 5"/>
            <p:cNvSpPr txBox="1">
              <a:spLocks/>
            </p:cNvSpPr>
            <p:nvPr/>
          </p:nvSpPr>
          <p:spPr>
            <a:xfrm>
              <a:off x="1028749" y="3777309"/>
              <a:ext cx="3527485" cy="751252"/>
            </a:xfrm>
            <a:prstGeom prst="rect">
              <a:avLst/>
            </a:prstGeom>
          </p:spPr>
          <p:txBody>
            <a:bodyPr lIns="60782" tIns="30391" rIns="60782" bIns="30391">
              <a:noAutofit/>
            </a:bodyPr>
            <a:lstStyle>
              <a:lvl1pPr marL="0" indent="0" algn="l" defTabSz="685783" rtl="0" eaLnBrk="1" latinLnBrk="0" hangingPunct="1">
                <a:lnSpc>
                  <a:spcPct val="12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lang="en-US" sz="900" kern="120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Lato Regular"/>
                  <a:ea typeface="Open Sans Light" panose="020B0306030504020204" pitchFamily="34" charset="0"/>
                  <a:cs typeface="Lato Regular"/>
                </a:defRPr>
              </a:lvl1pPr>
              <a:lvl2pPr marL="51433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857228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200120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1543012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1885903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795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686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77" indent="-171446" algn="l" defTabSz="6857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lnSpc>
                  <a:spcPct val="100000"/>
                </a:lnSpc>
                <a:spcBef>
                  <a:spcPts val="0"/>
                </a:spcBef>
                <a:buFont typeface="Wingdings" panose="05000000000000000000" pitchFamily="2" charset="2"/>
                <a:buChar char="v"/>
              </a:pPr>
              <a:r>
                <a:rPr lang="en-US" altLang="ko-KR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Tham</a:t>
              </a:r>
              <a:r>
                <a:rPr lang="en-US" altLang="ko-KR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altLang="ko-KR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gia</a:t>
              </a:r>
              <a:r>
                <a:rPr lang="en-US" altLang="ko-KR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altLang="ko-KR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khóa</a:t>
              </a:r>
              <a:r>
                <a:rPr lang="en-US" altLang="ko-KR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altLang="ko-KR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học</a:t>
              </a:r>
              <a:r>
                <a:rPr lang="en-US" altLang="ko-KR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altLang="ko-KR" sz="1600" dirty="0" smtClean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/>
              </a:r>
              <a:br>
                <a:rPr lang="en-US" altLang="ko-KR" sz="1600" dirty="0" smtClean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</a:br>
              <a:r>
                <a:rPr lang="en-US" altLang="ko-KR" sz="1600" dirty="0" err="1" smtClean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Thuật</a:t>
              </a:r>
              <a:r>
                <a:rPr lang="en-US" altLang="ko-KR" sz="1600" dirty="0" smtClean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altLang="ko-KR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toán</a:t>
              </a:r>
              <a:r>
                <a:rPr lang="en-US" altLang="ko-KR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altLang="ko-KR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Ứng</a:t>
              </a:r>
              <a:r>
                <a:rPr lang="en-US" altLang="ko-KR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altLang="ko-KR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dụng</a:t>
              </a:r>
              <a:r>
                <a:rPr lang="en-US" altLang="ko-KR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altLang="ko-KR" sz="1600" dirty="0" smtClean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/>
              </a:r>
              <a:br>
                <a:rPr lang="en-US" altLang="ko-KR" sz="1600" dirty="0" smtClean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</a:br>
              <a:r>
                <a:rPr lang="en-US" sz="1600" dirty="0" smtClean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(</a:t>
              </a:r>
              <a:r>
                <a:rPr lang="en-US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Tài</a:t>
              </a:r>
              <a:r>
                <a:rPr lang="en-US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trợ</a:t>
              </a:r>
              <a:r>
                <a:rPr lang="en-US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altLang="ko-KR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100% </a:t>
              </a:r>
              <a:r>
                <a:rPr lang="en-US" altLang="ko-KR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học</a:t>
              </a:r>
              <a:r>
                <a:rPr lang="en-US" altLang="ko-KR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 </a:t>
              </a:r>
              <a:r>
                <a:rPr lang="en-US" altLang="ko-KR" sz="1600" dirty="0" err="1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phí</a:t>
              </a:r>
              <a:r>
                <a:rPr lang="en-US" altLang="ko-KR" sz="1600" dirty="0">
                  <a:solidFill>
                    <a:schemeClr val="tx1"/>
                  </a:solidFill>
                  <a:latin typeface="Verdana" panose="020B0604030504040204" pitchFamily="34" charset="0"/>
                  <a:ea typeface="맑은 고딕" pitchFamily="50" charset="-127"/>
                  <a:cs typeface="Times New Roman" panose="02020603050405020304" pitchFamily="18" charset="0"/>
                </a:rPr>
                <a:t>)</a:t>
              </a:r>
            </a:p>
          </p:txBody>
        </p:sp>
      </p:grpSp>
      <p:sp>
        <p:nvSpPr>
          <p:cNvPr id="23" name="Text Placeholder 5"/>
          <p:cNvSpPr txBox="1">
            <a:spLocks/>
          </p:cNvSpPr>
          <p:nvPr/>
        </p:nvSpPr>
        <p:spPr>
          <a:xfrm>
            <a:off x="2113483" y="5265018"/>
            <a:ext cx="3753917" cy="836603"/>
          </a:xfrm>
          <a:prstGeom prst="rect">
            <a:avLst/>
          </a:prstGeom>
        </p:spPr>
        <p:txBody>
          <a:bodyPr lIns="60782" tIns="30391" rIns="60782" bIns="30391">
            <a:noAutofit/>
          </a:bodyPr>
          <a:lstStyle>
            <a:lvl1pPr marL="0" indent="0" algn="l" defTabSz="685783" rtl="0" eaLnBrk="1" latinLnBrk="0" hangingPunct="1">
              <a:lnSpc>
                <a:spcPct val="12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US" sz="9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Lato Regular"/>
                <a:ea typeface="Open Sans Light" panose="020B0306030504020204" pitchFamily="34" charset="0"/>
                <a:cs typeface="Lato Regular"/>
              </a:defRPr>
            </a:lvl1pPr>
            <a:lvl2pPr marL="51433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857228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200120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543012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1885903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Sau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khi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tốt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nghiệp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trở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thành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nhân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viên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của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trung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tâm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R&amp;D </a:t>
            </a:r>
            <a:r>
              <a:rPr lang="en-US" altLang="ko-KR" sz="1600" dirty="0" err="1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của</a:t>
            </a:r>
            <a:r>
              <a:rPr lang="en-US" altLang="ko-KR" sz="1600" dirty="0">
                <a:solidFill>
                  <a:schemeClr val="tx1"/>
                </a:solidFill>
                <a:latin typeface="Verdana" panose="020B0604030504040204" pitchFamily="34" charset="0"/>
                <a:ea typeface="맑은 고딕" pitchFamily="50" charset="-127"/>
                <a:cs typeface="Times New Roman" panose="02020603050405020304" pitchFamily="18" charset="0"/>
              </a:rPr>
              <a:t> Samsung</a:t>
            </a:r>
            <a:endParaRPr lang="en-US" sz="1600" dirty="0">
              <a:solidFill>
                <a:schemeClr val="tx1"/>
              </a:solidFill>
              <a:latin typeface="Verdana" panose="020B0604030504040204" pitchFamily="34" charset="0"/>
              <a:ea typeface="맑은 고딕" pitchFamily="50" charset="-127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365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제목 1"/>
          <p:cNvSpPr txBox="1">
            <a:spLocks/>
          </p:cNvSpPr>
          <p:nvPr/>
        </p:nvSpPr>
        <p:spPr>
          <a:xfrm>
            <a:off x="1276349" y="138538"/>
            <a:ext cx="10201769" cy="949560"/>
          </a:xfrm>
          <a:prstGeom prst="rect">
            <a:avLst/>
          </a:prstGeom>
        </p:spPr>
        <p:txBody>
          <a:bodyPr vert="horz" lIns="91249" tIns="45626" rIns="91249" bIns="45626" rtlCol="0" anchor="ctr">
            <a:norm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200" b="1" dirty="0" err="1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Hợp</a:t>
            </a:r>
            <a:r>
              <a:rPr lang="en-US" altLang="ko-KR" sz="3200" b="1" dirty="0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3200" b="1" dirty="0" err="1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tác</a:t>
            </a:r>
            <a:r>
              <a:rPr lang="en-US" altLang="ko-KR" sz="3200" b="1" dirty="0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3200" b="1" dirty="0" err="1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đào</a:t>
            </a:r>
            <a:r>
              <a:rPr lang="en-US" altLang="ko-KR" sz="3200" b="1" dirty="0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3200" b="1" dirty="0" err="1" smtClean="0">
                <a:solidFill>
                  <a:srgbClr val="002060"/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tạo</a:t>
            </a:r>
            <a:endParaRPr lang="en-US" altLang="ko-KR" sz="3200" b="1" dirty="0">
              <a:solidFill>
                <a:srgbClr val="002060"/>
              </a:solidFill>
              <a:latin typeface="Verdana" panose="020B0604030504040204" pitchFamily="34" charset="0"/>
              <a:ea typeface="Malgun Gothic" panose="020B0503020000020004" pitchFamily="34" charset="-127"/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565133" y="1350274"/>
            <a:ext cx="11184620" cy="738482"/>
          </a:xfrm>
          <a:prstGeom prst="rect">
            <a:avLst/>
          </a:prstGeom>
        </p:spPr>
        <p:txBody>
          <a:bodyPr vert="horz" wrap="square" lIns="91260" tIns="45630" rIns="91260" bIns="45630" rtlCol="0">
            <a:spAutoFit/>
          </a:bodyPr>
          <a:lstStyle>
            <a:lvl1pPr marL="0" indent="0" algn="l" defTabSz="1828434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48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1pPr>
            <a:lvl2pPr marL="914217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40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2pPr>
            <a:lvl3pPr marL="1828434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6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3pPr>
            <a:lvl4pPr marL="2742651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2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4pPr>
            <a:lvl5pPr marL="3656868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200" kern="1200" dirty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5pPr>
            <a:lvl6pPr marL="5028194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411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628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846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v"/>
            </a:pP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ùy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heo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rường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,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mỗi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môn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học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sẽ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được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ổ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chức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ừ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45~90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iết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,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sau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khi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hoàn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hành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khóa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học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sẽ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được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công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nhận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2~3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ín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chỉ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.</a:t>
            </a:r>
          </a:p>
          <a:p>
            <a:pPr marL="342900" indent="-342900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v"/>
            </a:pP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ính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ừ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năm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2012</a:t>
            </a:r>
            <a:r>
              <a:rPr lang="ko-KR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đến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nay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đã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có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hơn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6,800 SV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ham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gia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các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khóa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học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do Samsung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ài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ea typeface="Malgun Gothic" panose="020B0503020000020004" pitchFamily="34" charset="-127"/>
                <a:cs typeface="Times New Roman" panose="02020603050405020304" pitchFamily="18" charset="0"/>
              </a:rPr>
              <a:t>trợ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2745900"/>
              </p:ext>
            </p:extLst>
          </p:nvPr>
        </p:nvGraphicFramePr>
        <p:xfrm>
          <a:off x="314490" y="2362199"/>
          <a:ext cx="6119893" cy="4210050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12775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6861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8124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0847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3485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4912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7016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ôn</a:t>
                      </a:r>
                      <a:r>
                        <a:rPr lang="en-US" sz="1400" b="1" u="none" strike="noStrike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400" b="1" u="none" strike="noStrike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ọc</a:t>
                      </a:r>
                      <a:r>
                        <a:rPr lang="en-US" sz="1400" b="1" u="none" strike="noStrike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13~</a:t>
                      </a:r>
                      <a:r>
                        <a:rPr lang="en-US" altLang="ko-KR" sz="1400" b="1" u="none" strike="noStrike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16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~2017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~2018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~2019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ổng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16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Java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340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7 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　</a:t>
                      </a:r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　</a:t>
                      </a:r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427 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16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ndroid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341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6 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　</a:t>
                      </a:r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　</a:t>
                      </a:r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b="1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557 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016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izen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2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 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　</a:t>
                      </a:r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　</a:t>
                      </a:r>
                      <a:endParaRPr lang="ko-KR" alt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3 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016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uật</a:t>
                      </a:r>
                      <a:r>
                        <a:rPr lang="en-US" sz="1400" u="none" strike="noStrike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400" u="none" strike="noStrike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án</a:t>
                      </a:r>
                      <a:endParaRPr lang="en-US" sz="1400" u="none" strike="noStrike" baseline="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algn="ctr" fontAlgn="ctr"/>
                      <a:r>
                        <a:rPr lang="en-US" sz="1400" b="0" i="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Ứng</a:t>
                      </a:r>
                      <a:r>
                        <a:rPr lang="en-US" sz="14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400" b="0" i="0" u="none" strike="noStrike" baseline="0" dirty="0" err="1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ụng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o-KR" altLang="en-US" sz="1400" u="none" strike="noStrike" dirty="0">
                          <a:effectLst/>
                          <a:latin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- 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74 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640 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790 </a:t>
                      </a:r>
                      <a:endParaRPr lang="en-US" altLang="ko-KR" sz="1400" b="0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3,804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016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ổng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,753 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88 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640 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,790 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ko-KR" sz="1400" b="1" u="none" strike="noStrike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,871</a:t>
                      </a:r>
                      <a:endParaRPr lang="en-US" altLang="ko-KR" sz="1400" b="1" i="0" u="none" strike="noStrike" dirty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4272676"/>
              </p:ext>
            </p:extLst>
          </p:nvPr>
        </p:nvGraphicFramePr>
        <p:xfrm>
          <a:off x="6620330" y="2356565"/>
          <a:ext cx="5259724" cy="4234735"/>
        </p:xfrm>
        <a:graphic>
          <a:graphicData uri="http://schemas.openxmlformats.org/drawingml/2006/table">
            <a:tbl>
              <a:tblPr firstRow="1" firstCol="1" bandRow="1">
                <a:tableStyleId>{18603FDC-E32A-4AB5-989C-0864C3EAD2B8}</a:tableStyleId>
              </a:tblPr>
              <a:tblGrid>
                <a:gridCol w="98062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931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814473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hân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oại</a:t>
                      </a:r>
                      <a:endParaRPr lang="ko-KR" sz="1400" b="1" kern="100" dirty="0">
                        <a:solidFill>
                          <a:sysClr val="windowText" lastClr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hort Term</a:t>
                      </a:r>
                      <a:b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en-US" sz="12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</a:t>
                      </a:r>
                      <a:r>
                        <a:rPr lang="en-US" sz="12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</a:t>
                      </a:r>
                      <a:r>
                        <a:rPr lang="en-US" sz="12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uyên</a:t>
                      </a:r>
                      <a:r>
                        <a:rPr lang="en-US" sz="12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2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gành</a:t>
                      </a:r>
                      <a:r>
                        <a:rPr lang="en-US" sz="12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2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ỹ</a:t>
                      </a:r>
                      <a:r>
                        <a:rPr lang="en-US" sz="12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2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uật</a:t>
                      </a:r>
                      <a:r>
                        <a:rPr lang="en-US" sz="12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2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gắn</a:t>
                      </a:r>
                      <a:r>
                        <a:rPr lang="en-US" sz="12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2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ạn</a:t>
                      </a:r>
                      <a:r>
                        <a:rPr lang="en-US" sz="12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)</a:t>
                      </a:r>
                      <a:endParaRPr lang="ko-KR" sz="1400" b="1" kern="100" dirty="0">
                        <a:solidFill>
                          <a:sysClr val="windowText" lastClr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ster Degree</a:t>
                      </a:r>
                      <a:b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en-US" sz="12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</a:t>
                      </a:r>
                      <a:r>
                        <a:rPr lang="en-US" sz="12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ạc</a:t>
                      </a:r>
                      <a:r>
                        <a:rPr lang="en-US" sz="12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2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ĩ</a:t>
                      </a:r>
                      <a:r>
                        <a:rPr lang="en-US" sz="12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2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hính</a:t>
                      </a:r>
                      <a:r>
                        <a:rPr lang="en-US" sz="12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sz="12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uy</a:t>
                      </a:r>
                      <a:r>
                        <a:rPr lang="en-US" sz="12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)</a:t>
                      </a:r>
                      <a:endParaRPr lang="ko-KR" sz="1400" b="1" kern="100" dirty="0">
                        <a:solidFill>
                          <a:sysClr val="windowText" lastClr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71292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ục</a:t>
                      </a:r>
                      <a:r>
                        <a:rPr lang="en-US" altLang="ko-KR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iêu</a:t>
                      </a:r>
                      <a:endParaRPr lang="ko-KR" sz="1400" kern="100" dirty="0">
                        <a:solidFill>
                          <a:sysClr val="windowText" lastClr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âng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ao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rình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độ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b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ỹ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uật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huyên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ôn</a:t>
                      </a:r>
                      <a:endParaRPr lang="ko-KR" sz="1400" kern="1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ọc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ị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ạc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ỹ</a:t>
                      </a:r>
                      <a:endParaRPr lang="en-US" altLang="ko-KR" sz="1400" kern="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16076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Đối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ượng</a:t>
                      </a:r>
                      <a:endParaRPr lang="ko-KR" sz="1400" kern="100" dirty="0">
                        <a:solidFill>
                          <a:sysClr val="windowText" lastClr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ỹ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ư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xuất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ắc</a:t>
                      </a:r>
                      <a:endParaRPr lang="ko-KR" sz="1400" kern="1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Ứng</a:t>
                      </a:r>
                      <a:r>
                        <a:rPr lang="en-US" altLang="ko-KR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iên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uản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ý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b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ỹ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uật</a:t>
                      </a:r>
                      <a:endParaRPr lang="ko-KR" sz="1400" kern="1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16818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ĩnh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ực</a:t>
                      </a:r>
                      <a:endParaRPr lang="ko-KR" sz="1400" kern="100" dirty="0">
                        <a:solidFill>
                          <a:sysClr val="windowText" lastClr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hóa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đào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ạo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huyên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âu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đối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ới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ừng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b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ĩnh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vực</a:t>
                      </a:r>
                      <a: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/>
                      </a:r>
                      <a:b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PLC, Robot, Vision)</a:t>
                      </a:r>
                      <a:endParaRPr lang="ko-KR" sz="1400" kern="1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ơ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hí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hế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ạo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, </a:t>
                      </a:r>
                      <a:b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ự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động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óa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,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điện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…</a:t>
                      </a:r>
                      <a:endParaRPr lang="ko-KR" altLang="ko-KR" sz="1400" kern="1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16076"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altLang="ko-KR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ịch</a:t>
                      </a:r>
                      <a:r>
                        <a:rPr lang="en-US" altLang="ko-KR" sz="1400" kern="0" baseline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en-US" altLang="ko-KR" sz="1400" kern="0" baseline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rình</a:t>
                      </a:r>
                      <a:endParaRPr lang="ko-KR" sz="1400" kern="100" dirty="0">
                        <a:solidFill>
                          <a:sysClr val="windowText" lastClr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/2018~ </a:t>
                      </a:r>
                      <a:b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2 </a:t>
                      </a:r>
                      <a:r>
                        <a:rPr lang="en-US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ần</a:t>
                      </a:r>
                      <a: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</a:t>
                      </a:r>
                      <a:r>
                        <a:rPr lang="en-US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ăm</a:t>
                      </a:r>
                      <a:r>
                        <a:rPr lang="en-US" altLang="ko-KR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)</a:t>
                      </a:r>
                      <a:endParaRPr lang="ko-KR" sz="1400" kern="1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tc>
                  <a:txBody>
                    <a:bodyPr/>
                    <a:lstStyle/>
                    <a:p>
                      <a:pPr algn="ctr" latinLnBrk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/2018~</a:t>
                      </a:r>
                      <a:b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1 </a:t>
                      </a:r>
                      <a:r>
                        <a:rPr lang="en-US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lần</a:t>
                      </a:r>
                      <a:r>
                        <a:rPr lang="en-US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/</a:t>
                      </a:r>
                      <a:r>
                        <a:rPr lang="en-US" sz="1400" kern="0" dirty="0" err="1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ăm</a:t>
                      </a:r>
                      <a:r>
                        <a:rPr lang="en-US" altLang="ko-KR" sz="1400" kern="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)</a:t>
                      </a:r>
                      <a:endParaRPr lang="ko-KR" sz="1400" kern="1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맑은 고딕" pitchFamily="50" charset="-127"/>
                        <a:cs typeface="Verdana" panose="020B0604030504040204" pitchFamily="34" charset="0"/>
                      </a:endParaRPr>
                    </a:p>
                  </a:txBody>
                  <a:tcPr marL="62865" marR="62865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340" y="154759"/>
            <a:ext cx="876189" cy="876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813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제목 1"/>
          <p:cNvSpPr txBox="1">
            <a:spLocks/>
          </p:cNvSpPr>
          <p:nvPr/>
        </p:nvSpPr>
        <p:spPr>
          <a:xfrm>
            <a:off x="1137779" y="259386"/>
            <a:ext cx="10515600" cy="847761"/>
          </a:xfrm>
          <a:prstGeom prst="rect">
            <a:avLst/>
          </a:prstGeom>
        </p:spPr>
        <p:txBody>
          <a:bodyPr vert="horz" lIns="91249" tIns="45626" rIns="91249" bIns="45626" rtlCol="0" anchor="ctr">
            <a:norm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3300" b="1" dirty="0">
                <a:solidFill>
                  <a:srgbClr val="002060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amsung Labs</a:t>
            </a: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0" y="1210303"/>
            <a:ext cx="12192000" cy="368509"/>
          </a:xfrm>
          <a:prstGeom prst="rect">
            <a:avLst/>
          </a:prstGeom>
        </p:spPr>
        <p:txBody>
          <a:bodyPr vert="horz" wrap="square" lIns="91260" tIns="45630" rIns="91260" bIns="45630" rtlCol="0">
            <a:spAutoFit/>
          </a:bodyPr>
          <a:lstStyle>
            <a:lvl1pPr marL="0" indent="0" algn="l" defTabSz="1828434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48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1pPr>
            <a:lvl2pPr marL="914217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40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2pPr>
            <a:lvl3pPr marL="1828434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6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3pPr>
            <a:lvl4pPr marL="2742651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2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4pPr>
            <a:lvl5pPr marL="3656868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200" kern="1200" dirty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5pPr>
            <a:lvl6pPr marL="5028194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411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628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846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altLang="ko-KR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9 </a:t>
            </a:r>
            <a:r>
              <a:rPr lang="en-US" altLang="ko-KR" sz="18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trường</a:t>
            </a:r>
            <a:r>
              <a:rPr lang="en-US" altLang="ko-KR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đại</a:t>
            </a:r>
            <a:r>
              <a:rPr lang="en-US" altLang="ko-KR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học</a:t>
            </a:r>
            <a:r>
              <a:rPr lang="en-US" altLang="ko-KR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với</a:t>
            </a:r>
            <a:r>
              <a:rPr lang="en-US" altLang="ko-KR" sz="1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10 Lab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cho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mục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đích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đào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tạo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các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môn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học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S/W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như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Thuật</a:t>
            </a:r>
            <a:r>
              <a:rPr lang="en-US" altLang="ko-KR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8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toán</a:t>
            </a:r>
            <a:endParaRPr lang="en-US" altLang="ko-KR" sz="1800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Malgun Gothic" panose="020B0503020000020004" pitchFamily="34" charset="-127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917" y="183187"/>
            <a:ext cx="909518" cy="909518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569157" y="1728759"/>
            <a:ext cx="11203743" cy="6227196"/>
            <a:chOff x="569157" y="1728759"/>
            <a:chExt cx="11203743" cy="6227196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1430715388"/>
                </p:ext>
              </p:extLst>
            </p:nvPr>
          </p:nvGraphicFramePr>
          <p:xfrm>
            <a:off x="569157" y="2537288"/>
            <a:ext cx="11203743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pic>
          <p:nvPicPr>
            <p:cNvPr id="25" name="Picture 5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2250" y="2537338"/>
              <a:ext cx="1581150" cy="1136846"/>
            </a:xfrm>
            <a:prstGeom prst="rect">
              <a:avLst/>
            </a:prstGeom>
            <a:noFill/>
            <a:ln>
              <a:noFill/>
            </a:ln>
            <a:effectLst>
              <a:glow rad="63500">
                <a:schemeClr val="bg1">
                  <a:alpha val="40000"/>
                </a:schemeClr>
              </a:glow>
              <a:softEdge rad="112522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" name="그림 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34929" y="2242123"/>
              <a:ext cx="1676487" cy="98306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3" name="그림 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1388" y="4316682"/>
              <a:ext cx="1514438" cy="100665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93186" name="Picture 2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390640" y="3244572"/>
              <a:ext cx="1496954" cy="997239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1145006" y="3704386"/>
              <a:ext cx="870751" cy="46166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algn="ctr"/>
              <a:r>
                <a:rPr lang="en-US" sz="2400" b="1" cap="all" dirty="0">
                  <a:ln w="0"/>
                  <a:gradFill flip="none">
                    <a:gsLst>
                      <a:gs pos="0">
                        <a:schemeClr val="accent1">
                          <a:tint val="75000"/>
                          <a:shade val="75000"/>
                          <a:satMod val="170000"/>
                        </a:schemeClr>
                      </a:gs>
                      <a:gs pos="49000">
                        <a:schemeClr val="accent1">
                          <a:tint val="88000"/>
                          <a:shade val="65000"/>
                          <a:satMod val="172000"/>
                        </a:schemeClr>
                      </a:gs>
                      <a:gs pos="50000">
                        <a:schemeClr val="accent1">
                          <a:shade val="65000"/>
                          <a:satMod val="130000"/>
                        </a:schemeClr>
                      </a:gs>
                      <a:gs pos="92000">
                        <a:schemeClr val="accent1">
                          <a:shade val="50000"/>
                          <a:satMod val="120000"/>
                        </a:schemeClr>
                      </a:gs>
                      <a:gs pos="100000">
                        <a:schemeClr val="accent1">
                          <a:shade val="48000"/>
                          <a:satMod val="120000"/>
                        </a:schemeClr>
                      </a:gs>
                    </a:gsLst>
                    <a:lin ang="5400000"/>
                  </a:gradFill>
                  <a:effectLst>
                    <a:reflection blurRad="12700" stA="50000" endPos="50000" dist="5000" dir="5400000" sy="-100000" rotWithShape="0"/>
                  </a:effectLst>
                </a:rPr>
                <a:t>2018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388894" y="3205870"/>
              <a:ext cx="870752" cy="46166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algn="ctr"/>
              <a:r>
                <a:rPr lang="en-US" sz="2400" b="1" cap="all" dirty="0">
                  <a:ln w="0"/>
                  <a:gradFill flip="none">
                    <a:gsLst>
                      <a:gs pos="0">
                        <a:schemeClr val="accent1">
                          <a:tint val="75000"/>
                          <a:shade val="75000"/>
                          <a:satMod val="170000"/>
                        </a:schemeClr>
                      </a:gs>
                      <a:gs pos="49000">
                        <a:schemeClr val="accent1">
                          <a:tint val="88000"/>
                          <a:shade val="65000"/>
                          <a:satMod val="172000"/>
                        </a:schemeClr>
                      </a:gs>
                      <a:gs pos="50000">
                        <a:schemeClr val="accent1">
                          <a:shade val="65000"/>
                          <a:satMod val="130000"/>
                        </a:schemeClr>
                      </a:gs>
                      <a:gs pos="92000">
                        <a:schemeClr val="accent1">
                          <a:shade val="50000"/>
                          <a:satMod val="120000"/>
                        </a:schemeClr>
                      </a:gs>
                      <a:gs pos="100000">
                        <a:schemeClr val="accent1">
                          <a:shade val="48000"/>
                          <a:satMod val="120000"/>
                        </a:schemeClr>
                      </a:gs>
                    </a:gsLst>
                    <a:lin ang="5400000"/>
                  </a:gradFill>
                  <a:effectLst>
                    <a:reflection blurRad="12700" stA="50000" endPos="50000" dist="5000" dir="5400000" sy="-100000" rotWithShape="0"/>
                  </a:effectLst>
                </a:rPr>
                <a:t>2019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5703741" y="2714759"/>
              <a:ext cx="870752" cy="46166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algn="ctr"/>
              <a:r>
                <a:rPr lang="en-US" sz="2400" b="1" cap="all" dirty="0">
                  <a:ln w="0"/>
                  <a:gradFill flip="none">
                    <a:gsLst>
                      <a:gs pos="0">
                        <a:schemeClr val="accent1">
                          <a:tint val="75000"/>
                          <a:shade val="75000"/>
                          <a:satMod val="170000"/>
                        </a:schemeClr>
                      </a:gs>
                      <a:gs pos="49000">
                        <a:schemeClr val="accent1">
                          <a:tint val="88000"/>
                          <a:shade val="65000"/>
                          <a:satMod val="172000"/>
                        </a:schemeClr>
                      </a:gs>
                      <a:gs pos="50000">
                        <a:schemeClr val="accent1">
                          <a:shade val="65000"/>
                          <a:satMod val="130000"/>
                        </a:schemeClr>
                      </a:gs>
                      <a:gs pos="92000">
                        <a:schemeClr val="accent1">
                          <a:shade val="50000"/>
                          <a:satMod val="120000"/>
                        </a:schemeClr>
                      </a:gs>
                      <a:gs pos="100000">
                        <a:schemeClr val="accent1">
                          <a:shade val="48000"/>
                          <a:satMod val="120000"/>
                        </a:schemeClr>
                      </a:gs>
                    </a:gsLst>
                    <a:lin ang="5400000"/>
                  </a:gradFill>
                  <a:effectLst>
                    <a:reflection blurRad="12700" stA="50000" endPos="50000" dist="5000" dir="5400000" sy="-100000" rotWithShape="0"/>
                  </a:effectLst>
                </a:rPr>
                <a:t>2020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8036499" y="1962522"/>
              <a:ext cx="870752" cy="46166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algn="ctr"/>
              <a:r>
                <a:rPr lang="en-US" sz="2400" b="1" cap="all" dirty="0">
                  <a:ln w="0"/>
                  <a:gradFill flip="none">
                    <a:gsLst>
                      <a:gs pos="0">
                        <a:schemeClr val="accent1">
                          <a:tint val="75000"/>
                          <a:shade val="75000"/>
                          <a:satMod val="170000"/>
                        </a:schemeClr>
                      </a:gs>
                      <a:gs pos="49000">
                        <a:schemeClr val="accent1">
                          <a:tint val="88000"/>
                          <a:shade val="65000"/>
                          <a:satMod val="172000"/>
                        </a:schemeClr>
                      </a:gs>
                      <a:gs pos="50000">
                        <a:schemeClr val="accent1">
                          <a:shade val="65000"/>
                          <a:satMod val="130000"/>
                        </a:schemeClr>
                      </a:gs>
                      <a:gs pos="92000">
                        <a:schemeClr val="accent1">
                          <a:shade val="50000"/>
                          <a:satMod val="120000"/>
                        </a:schemeClr>
                      </a:gs>
                      <a:gs pos="100000">
                        <a:schemeClr val="accent1">
                          <a:shade val="48000"/>
                          <a:satMod val="120000"/>
                        </a:schemeClr>
                      </a:gs>
                    </a:gsLst>
                    <a:lin ang="5400000"/>
                  </a:gradFill>
                  <a:effectLst>
                    <a:reflection blurRad="12700" stA="50000" endPos="50000" dist="5000" dir="5400000" sy="-100000" rotWithShape="0"/>
                  </a:effectLst>
                </a:rPr>
                <a:t>2021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10337796" y="1728759"/>
              <a:ext cx="870752" cy="461665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algn="ctr"/>
              <a:r>
                <a:rPr lang="en-US" sz="2400" b="1" cap="all" dirty="0">
                  <a:ln w="0"/>
                  <a:gradFill flip="none">
                    <a:gsLst>
                      <a:gs pos="0">
                        <a:schemeClr val="accent1">
                          <a:tint val="75000"/>
                          <a:shade val="75000"/>
                          <a:satMod val="170000"/>
                        </a:schemeClr>
                      </a:gs>
                      <a:gs pos="49000">
                        <a:schemeClr val="accent1">
                          <a:tint val="88000"/>
                          <a:shade val="65000"/>
                          <a:satMod val="172000"/>
                        </a:schemeClr>
                      </a:gs>
                      <a:gs pos="50000">
                        <a:schemeClr val="accent1">
                          <a:shade val="65000"/>
                          <a:satMod val="130000"/>
                        </a:schemeClr>
                      </a:gs>
                      <a:gs pos="92000">
                        <a:schemeClr val="accent1">
                          <a:shade val="50000"/>
                          <a:satMod val="120000"/>
                        </a:schemeClr>
                      </a:gs>
                      <a:gs pos="100000">
                        <a:schemeClr val="accent1">
                          <a:shade val="48000"/>
                          <a:satMod val="120000"/>
                        </a:schemeClr>
                      </a:gs>
                    </a:gsLst>
                    <a:lin ang="5400000"/>
                  </a:gradFill>
                  <a:effectLst>
                    <a:reflection blurRad="12700" stA="50000" endPos="50000" dist="5000" dir="5400000" sy="-100000" rotWithShape="0"/>
                  </a:effectLst>
                </a:rPr>
                <a:t>2022</a:t>
              </a: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1108" y="3771870"/>
              <a:ext cx="1549387" cy="992193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</p:spTree>
    <p:extLst>
      <p:ext uri="{BB962C8B-B14F-4D97-AF65-F5344CB8AC3E}">
        <p14:creationId xmlns:p14="http://schemas.microsoft.com/office/powerpoint/2010/main" val="1976963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제목 1"/>
          <p:cNvSpPr txBox="1">
            <a:spLocks/>
          </p:cNvSpPr>
          <p:nvPr/>
        </p:nvSpPr>
        <p:spPr>
          <a:xfrm>
            <a:off x="1902922" y="104339"/>
            <a:ext cx="9911125" cy="949560"/>
          </a:xfrm>
          <a:prstGeom prst="rect">
            <a:avLst/>
          </a:prstGeom>
        </p:spPr>
        <p:txBody>
          <a:bodyPr vert="horz" lIns="91249" tIns="45626" rIns="91249" bIns="45626" rtlCol="0" anchor="ctr">
            <a:norm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ợp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ác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ghiên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ứu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iữa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anh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ghiệp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à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ường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đại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ọc</a:t>
            </a:r>
            <a:endParaRPr lang="en-US" altLang="ko-KR" sz="2400" b="1" dirty="0">
              <a:solidFill>
                <a:srgbClr val="505A8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Subtitle 2"/>
          <p:cNvSpPr txBox="1">
            <a:spLocks/>
          </p:cNvSpPr>
          <p:nvPr/>
        </p:nvSpPr>
        <p:spPr>
          <a:xfrm>
            <a:off x="4314255" y="2604169"/>
            <a:ext cx="4303652" cy="399223"/>
          </a:xfrm>
          <a:prstGeom prst="rect">
            <a:avLst/>
          </a:prstGeom>
        </p:spPr>
        <p:txBody>
          <a:bodyPr vert="horz" wrap="square" lIns="91260" tIns="45630" rIns="91260" bIns="45630" rtlCol="0">
            <a:spAutoFit/>
          </a:bodyPr>
          <a:lstStyle>
            <a:lvl1pPr marL="0" indent="0" algn="l" defTabSz="1828434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48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1pPr>
            <a:lvl2pPr marL="914217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40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2pPr>
            <a:lvl3pPr marL="1828434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6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3pPr>
            <a:lvl4pPr marL="2742651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2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4pPr>
            <a:lvl5pPr marL="3656868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200" kern="1200" dirty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5pPr>
            <a:lvl6pPr marL="5028194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411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628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846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1800"/>
              </a:spcBef>
              <a:spcAft>
                <a:spcPts val="1200"/>
              </a:spcAft>
            </a:pPr>
            <a:r>
              <a:rPr lang="en-US" altLang="ko-KR" sz="20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.700.000.000</a:t>
            </a:r>
            <a:r>
              <a:rPr lang="en-US" altLang="ko-KR" sz="18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VNĐ</a:t>
            </a:r>
          </a:p>
        </p:txBody>
      </p:sp>
      <p:sp>
        <p:nvSpPr>
          <p:cNvPr id="10" name="Rectangle 24"/>
          <p:cNvSpPr>
            <a:spLocks noChangeArrowheads="1"/>
          </p:cNvSpPr>
          <p:nvPr/>
        </p:nvSpPr>
        <p:spPr bwMode="auto">
          <a:xfrm>
            <a:off x="707503" y="3235635"/>
            <a:ext cx="5051569" cy="400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08" tIns="45704" rIns="91408" bIns="45704">
            <a:spAutoFit/>
          </a:bodyPr>
          <a:lstStyle>
            <a:lvl1pPr eaLnBrk="0" latinLnBrk="1" hangingPunct="0">
              <a:spcBef>
                <a:spcPct val="20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1pPr>
            <a:lvl2pPr marL="742950" indent="-285750" eaLnBrk="0" latinLnBrk="1" hangingPunct="0">
              <a:spcBef>
                <a:spcPct val="20000"/>
              </a:spcBef>
              <a:buFont typeface="Arial" pitchFamily="34" charset="0"/>
              <a:buChar char="–"/>
              <a:defRPr sz="25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2pPr>
            <a:lvl3pPr marL="1143000" indent="-228600" eaLnBrk="0" latinLnBrk="1" hangingPunct="0">
              <a:spcBef>
                <a:spcPct val="20000"/>
              </a:spcBef>
              <a:buFont typeface="Arial" pitchFamily="34" charset="0"/>
              <a:buChar char="•"/>
              <a:defRPr sz="21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3pPr>
            <a:lvl4pPr marL="1600200" indent="-228600" eaLnBrk="0" latinLnBrk="1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4pPr>
            <a:lvl5pPr marL="2057400" indent="-228600" eaLnBrk="0" latinLnBrk="1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5pPr>
            <a:lvl6pPr marL="25146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6pPr>
            <a:lvl7pPr marL="29718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7pPr>
            <a:lvl8pPr marL="34290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8pPr>
            <a:lvl9pPr marL="3886200" indent="-228600" eaLnBrk="0" fontAlgn="base" latinLnBrk="1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</a:defRPr>
            </a:lvl9pPr>
          </a:lstStyle>
          <a:p>
            <a:pPr algn="ctr" eaLnBrk="1" latinLnBrk="0" hangingPunct="1">
              <a:spcBef>
                <a:spcPct val="0"/>
              </a:spcBef>
              <a:buFontTx/>
              <a:buNone/>
            </a:pPr>
            <a:r>
              <a:rPr lang="en-US" altLang="ko-KR" sz="2000" b="1" u="sng" dirty="0">
                <a:solidFill>
                  <a:srgbClr val="002060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Audio Book Apps for Blinds </a:t>
            </a:r>
            <a:r>
              <a:rPr lang="en-US" altLang="ko-KR" sz="2000" b="1" u="sng" dirty="0">
                <a:solidFill>
                  <a:srgbClr val="0000FF"/>
                </a:solidFill>
                <a:latin typeface="맑은 고딕" panose="020B0503020000020004" pitchFamily="50" charset="-127"/>
                <a:ea typeface="맑은 고딕" panose="020B0503020000020004" pitchFamily="50" charset="-127"/>
              </a:rPr>
              <a:t>(CSR)</a:t>
            </a:r>
            <a:endParaRPr lang="en-US" altLang="en-US" sz="2000" b="1" u="sng" dirty="0">
              <a:solidFill>
                <a:srgbClr val="0000FF"/>
              </a:solidFill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6299665" y="3200801"/>
            <a:ext cx="5352407" cy="497008"/>
          </a:xfrm>
          <a:prstGeom prst="rect">
            <a:avLst/>
          </a:prstGeom>
        </p:spPr>
        <p:txBody>
          <a:bodyPr lIns="91278" tIns="45639" rIns="91278" bIns="45639"/>
          <a:lstStyle>
            <a:defPPr>
              <a:defRPr lang="ko-KR"/>
            </a:defPPr>
            <a:lvl1pPr marL="0" algn="l" defTabSz="908666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4309" algn="l" defTabSz="908666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8666" algn="l" defTabSz="908666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3012" algn="l" defTabSz="908666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17363" algn="l" defTabSz="908666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71688" algn="l" defTabSz="908666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6022" algn="l" defTabSz="908666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80368" algn="l" defTabSz="908666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34719" algn="l" defTabSz="908666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u="sng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SMS Spam Filtering </a:t>
            </a:r>
            <a:r>
              <a:rPr lang="en-US" sz="2000" b="1" u="sng" dirty="0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</a:rPr>
              <a:t>(Research)</a:t>
            </a:r>
          </a:p>
        </p:txBody>
      </p:sp>
      <p:pic>
        <p:nvPicPr>
          <p:cNvPr id="12" name="Picture 2" descr="Z:\Spam-Filtering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609" b="25671"/>
          <a:stretch/>
        </p:blipFill>
        <p:spPr bwMode="auto">
          <a:xfrm>
            <a:off x="6367086" y="3781647"/>
            <a:ext cx="5041789" cy="2866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18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987" y="3781647"/>
            <a:ext cx="5288756" cy="2866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B9756A95-F7CB-1846-B656-F6755A4BBBA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187" y="166376"/>
            <a:ext cx="1197440" cy="949560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7C0DD537-BB62-FD47-B949-6DBA1287F5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7597222"/>
              </p:ext>
            </p:extLst>
          </p:nvPr>
        </p:nvGraphicFramePr>
        <p:xfrm>
          <a:off x="0" y="1137737"/>
          <a:ext cx="12191999" cy="1323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118851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01_2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0800000" flipV="1">
            <a:off x="-12" y="1941535"/>
            <a:ext cx="12191999" cy="4916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2170568" y="505884"/>
            <a:ext cx="795105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úc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đẩy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ạt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động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ghiên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ứu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b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iữa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anh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ghiệp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à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ường</a:t>
            </a:r>
            <a:r>
              <a:rPr lang="en-US" altLang="ko-KR" sz="2800" b="1" dirty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800" b="1" dirty="0" err="1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ọc</a:t>
            </a:r>
            <a:endParaRPr lang="ko-KR" altLang="en-US" sz="2800" b="1" dirty="0">
              <a:solidFill>
                <a:srgbClr val="0070C0"/>
              </a:solidFill>
              <a:latin typeface="Verdana" panose="020B0604030504040204" pitchFamily="34" charset="0"/>
              <a:ea typeface="맑은 고딕" panose="020B0503020000020004" pitchFamily="50" charset="-127"/>
              <a:cs typeface="Verdana" panose="020B0604030504040204" pitchFamily="34" charset="0"/>
            </a:endParaRPr>
          </a:p>
        </p:txBody>
      </p:sp>
      <p:sp>
        <p:nvSpPr>
          <p:cNvPr id="13" name="타원 12"/>
          <p:cNvSpPr/>
          <p:nvPr/>
        </p:nvSpPr>
        <p:spPr>
          <a:xfrm>
            <a:off x="1611444" y="4140403"/>
            <a:ext cx="1980000" cy="1980000"/>
          </a:xfrm>
          <a:prstGeom prst="ellipse">
            <a:avLst/>
          </a:prstGeom>
          <a:ln>
            <a:noFill/>
          </a:ln>
          <a:effectLst>
            <a:outerShdw blurRad="40000" dist="20000" dir="5400000" rotWithShape="0">
              <a:srgbClr val="000000">
                <a:alpha val="38000"/>
              </a:srgbClr>
            </a:outerShdw>
            <a:softEdge rad="31750"/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2000" kern="0" spc="-15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3931775" y="4140403"/>
            <a:ext cx="1980000" cy="1980000"/>
          </a:xfrm>
          <a:prstGeom prst="ellipse">
            <a:avLst/>
          </a:prstGeom>
          <a:solidFill>
            <a:srgbClr val="2B6EAB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2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5" name="타원 14"/>
          <p:cNvSpPr/>
          <p:nvPr/>
        </p:nvSpPr>
        <p:spPr>
          <a:xfrm>
            <a:off x="6252106" y="4140403"/>
            <a:ext cx="1980000" cy="1980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2000" b="1" dirty="0">
              <a:latin typeface="맑은 고딕" panose="020B0503020000020004" pitchFamily="50" charset="-127"/>
              <a:ea typeface="맑은 고딕" panose="020B0503020000020004" pitchFamily="50" charset="-127"/>
            </a:endParaRPr>
          </a:p>
        </p:txBody>
      </p:sp>
      <p:sp>
        <p:nvSpPr>
          <p:cNvPr id="16" name="타원 15"/>
          <p:cNvSpPr/>
          <p:nvPr/>
        </p:nvSpPr>
        <p:spPr>
          <a:xfrm>
            <a:off x="8572437" y="4140403"/>
            <a:ext cx="1980000" cy="1980000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ko-KR" altLang="en-US" sz="2000" kern="0" spc="-150" dirty="0">
              <a:solidFill>
                <a:schemeClr val="bg1"/>
              </a:solidFill>
              <a:latin typeface="맑은 고딕" panose="020B0503020000020004" pitchFamily="50" charset="-127"/>
              <a:ea typeface="맑은 고딕" panose="020B0503020000020004" pitchFamily="50" charset="-127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049F6F0-3FA3-194A-B912-35275172110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8711" y="4283866"/>
            <a:ext cx="1845466" cy="16930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1CE8CC81-DB7B-7C40-968A-9E5A8624193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2063" y="4062007"/>
            <a:ext cx="2144476" cy="216217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C28C5D97-C8DB-9D4C-AF26-EF89799A8CB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6095" y="4026242"/>
            <a:ext cx="2196194" cy="222623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E1512BA2-E84C-824B-A361-FB771FE940A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961"/>
          <a:stretch/>
        </p:blipFill>
        <p:spPr>
          <a:xfrm>
            <a:off x="8448300" y="4077773"/>
            <a:ext cx="2180067" cy="209416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7F90E099-0A53-1D48-8A4B-55079197CBE6}"/>
              </a:ext>
            </a:extLst>
          </p:cNvPr>
          <p:cNvSpPr/>
          <p:nvPr/>
        </p:nvSpPr>
        <p:spPr>
          <a:xfrm>
            <a:off x="1960996" y="6171934"/>
            <a:ext cx="1217000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ông</a:t>
            </a:r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ghệ</a:t>
            </a:r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algn="ctr"/>
            <a:r>
              <a:rPr lang="en-US" sz="1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ọng</a:t>
            </a:r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âm</a:t>
            </a:r>
            <a:endParaRPr lang="en-US" sz="1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F89D5268-2E72-A14F-80C3-960E95676620}"/>
              </a:ext>
            </a:extLst>
          </p:cNvPr>
          <p:cNvSpPr/>
          <p:nvPr/>
        </p:nvSpPr>
        <p:spPr>
          <a:xfrm>
            <a:off x="4383006" y="6171934"/>
            <a:ext cx="1077538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iáo</a:t>
            </a:r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ình</a:t>
            </a:r>
            <a:endParaRPr lang="en-US" sz="1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en-US" sz="14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ên</a:t>
            </a:r>
            <a:r>
              <a:rPr lang="en-US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ến</a:t>
            </a:r>
            <a:endParaRPr lang="en-US" sz="1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749A81A-DB4E-1C41-AC33-26F52C9B0840}"/>
              </a:ext>
            </a:extLst>
          </p:cNvPr>
          <p:cNvSpPr/>
          <p:nvPr/>
        </p:nvSpPr>
        <p:spPr>
          <a:xfrm>
            <a:off x="6640018" y="6171934"/>
            <a:ext cx="1204176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4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ạ</a:t>
            </a:r>
            <a:r>
              <a:rPr lang="en-US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ầng</a:t>
            </a:r>
            <a:endParaRPr lang="en-US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en-US" sz="1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ghiên</a:t>
            </a:r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ứu</a:t>
            </a:r>
            <a:endParaRPr lang="en-US" sz="1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98837D38-BBB9-9A47-B712-B26919238102}"/>
              </a:ext>
            </a:extLst>
          </p:cNvPr>
          <p:cNvSpPr/>
          <p:nvPr/>
        </p:nvSpPr>
        <p:spPr>
          <a:xfrm>
            <a:off x="8990748" y="6173923"/>
            <a:ext cx="1095172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4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ồi</a:t>
            </a:r>
            <a:r>
              <a:rPr lang="en-US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ưỡng</a:t>
            </a:r>
            <a:endParaRPr lang="en-US" sz="1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en-US" sz="14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</a:t>
            </a:r>
            <a:r>
              <a:rPr lang="en-US" sz="1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ân</a:t>
            </a:r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400" b="0" cap="none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ài</a:t>
            </a:r>
            <a:endParaRPr lang="en-US" sz="1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506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제목 1"/>
          <p:cNvSpPr txBox="1">
            <a:spLocks/>
          </p:cNvSpPr>
          <p:nvPr/>
        </p:nvSpPr>
        <p:spPr>
          <a:xfrm>
            <a:off x="1726830" y="204020"/>
            <a:ext cx="9707544" cy="949560"/>
          </a:xfrm>
          <a:prstGeom prst="rect">
            <a:avLst/>
          </a:prstGeom>
        </p:spPr>
        <p:txBody>
          <a:bodyPr vert="horz" lIns="91249" tIns="45626" rIns="91249" bIns="45626" rtlCol="0" anchor="ctr">
            <a:normAutofit/>
          </a:bodyPr>
          <a:lstStyle>
            <a:lvl1pPr algn="l" defTabSz="914400" rtl="0" eaLnBrk="1" latinLnBrk="1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Đa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ạng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á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ương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ình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 smtClean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đào</a:t>
            </a:r>
            <a:r>
              <a:rPr lang="en-US" altLang="ko-KR" sz="2400" b="1" dirty="0" smtClean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 smtClean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ạo</a:t>
            </a:r>
            <a:r>
              <a:rPr lang="en-US" altLang="ko-KR" sz="2400" b="1" dirty="0" smtClean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 smtClean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guồn</a:t>
            </a:r>
            <a:r>
              <a:rPr lang="en-US" altLang="ko-KR" sz="2400" b="1" dirty="0" smtClean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hân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ko-KR" sz="2400" b="1" dirty="0" err="1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ực</a:t>
            </a:r>
            <a:r>
              <a:rPr lang="en-US" altLang="ko-KR" sz="2400" b="1" dirty="0">
                <a:solidFill>
                  <a:srgbClr val="505A8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CT </a:t>
            </a:r>
          </a:p>
        </p:txBody>
      </p:sp>
      <p:sp>
        <p:nvSpPr>
          <p:cNvPr id="119" name="Subtitle 2"/>
          <p:cNvSpPr txBox="1">
            <a:spLocks/>
          </p:cNvSpPr>
          <p:nvPr/>
        </p:nvSpPr>
        <p:spPr>
          <a:xfrm>
            <a:off x="1163052" y="1272734"/>
            <a:ext cx="10600691" cy="338372"/>
          </a:xfrm>
          <a:prstGeom prst="rect">
            <a:avLst/>
          </a:prstGeom>
        </p:spPr>
        <p:txBody>
          <a:bodyPr vert="horz" wrap="square" lIns="91260" tIns="45630" rIns="91260" bIns="45630" rtlCol="0">
            <a:spAutoFit/>
          </a:bodyPr>
          <a:lstStyle>
            <a:lvl1pPr marL="0" indent="0" algn="l" defTabSz="1828434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None/>
              <a:defRPr lang="en-US" sz="48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1pPr>
            <a:lvl2pPr marL="914217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40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2pPr>
            <a:lvl3pPr marL="1828434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6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3pPr>
            <a:lvl4pPr marL="2742651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200" kern="1200" dirty="0" smtClean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4pPr>
            <a:lvl5pPr marL="3656868" indent="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3200" kern="1200" dirty="0">
                <a:solidFill>
                  <a:schemeClr val="tx1"/>
                </a:solidFill>
                <a:effectLst/>
                <a:latin typeface="Lato Light"/>
                <a:ea typeface="+mn-ea"/>
                <a:cs typeface="Lato Light"/>
              </a:defRPr>
            </a:lvl5pPr>
            <a:lvl6pPr marL="5028194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411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628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846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Font typeface="Wingdings" pitchFamily="2" charset="2"/>
              <a:buChar char="v"/>
            </a:pP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Tăng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cường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nhân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lực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</a:rPr>
              <a:t> CNTT: Online Practice System, Samsung Contest (SCPC)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7FB2D88-54C6-474A-B7FA-9BA7060B1255}"/>
              </a:ext>
            </a:extLst>
          </p:cNvPr>
          <p:cNvGrpSpPr/>
          <p:nvPr/>
        </p:nvGrpSpPr>
        <p:grpSpPr>
          <a:xfrm>
            <a:off x="1432565" y="2339695"/>
            <a:ext cx="9434213" cy="4276685"/>
            <a:chOff x="1143001" y="2101700"/>
            <a:chExt cx="9434213" cy="4276685"/>
          </a:xfrm>
        </p:grpSpPr>
        <p:sp>
          <p:nvSpPr>
            <p:cNvPr id="5" name="Shape 1385"/>
            <p:cNvSpPr/>
            <p:nvPr/>
          </p:nvSpPr>
          <p:spPr>
            <a:xfrm>
              <a:off x="1356837" y="2576533"/>
              <a:ext cx="2431196" cy="279399"/>
            </a:xfrm>
            <a:prstGeom prst="roundRect">
              <a:avLst>
                <a:gd name="adj" fmla="val 0"/>
              </a:avLst>
            </a:prstGeom>
            <a:solidFill>
              <a:srgbClr val="DBF5F9">
                <a:lumMod val="50000"/>
              </a:srgb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/>
            <a:p>
              <a:pPr algn="ctr" defTabSz="584200" latinLnBrk="0"/>
              <a:r>
                <a:rPr lang="en-US" sz="1100" kern="0" dirty="0">
                  <a:solidFill>
                    <a:sysClr val="window" lastClr="FFFFFF"/>
                  </a:solidFill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Samsung Lab Operation</a:t>
              </a:r>
            </a:p>
          </p:txBody>
        </p:sp>
        <p:sp>
          <p:nvSpPr>
            <p:cNvPr id="6" name="Shape 1385"/>
            <p:cNvSpPr/>
            <p:nvPr/>
          </p:nvSpPr>
          <p:spPr>
            <a:xfrm>
              <a:off x="4630070" y="2576533"/>
              <a:ext cx="2463114" cy="279399"/>
            </a:xfrm>
            <a:prstGeom prst="roundRect">
              <a:avLst>
                <a:gd name="adj" fmla="val 0"/>
              </a:avLst>
            </a:prstGeom>
            <a:solidFill>
              <a:srgbClr val="DBF5F9">
                <a:lumMod val="50000"/>
              </a:srgb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1500" cap="all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pPr marL="0" marR="0" lvl="0" indent="0" algn="ctr" defTabSz="584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cap="none">
                  <a:solidFill>
                    <a:srgbClr val="000000"/>
                  </a:solidFill>
                </a:defRPr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Algorithm Course</a:t>
              </a:r>
            </a:p>
          </p:txBody>
        </p:sp>
        <p:sp>
          <p:nvSpPr>
            <p:cNvPr id="7" name="Shape 1385"/>
            <p:cNvSpPr/>
            <p:nvPr/>
          </p:nvSpPr>
          <p:spPr>
            <a:xfrm>
              <a:off x="7900642" y="3821574"/>
              <a:ext cx="2436691" cy="279399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5000"/>
              </a:scheme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1500" cap="all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pPr marL="0" marR="0" lvl="0" indent="0" algn="ctr" defTabSz="584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cap="none">
                  <a:solidFill>
                    <a:srgbClr val="000000"/>
                  </a:solidFill>
                </a:defRPr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Open Day (for students)</a:t>
              </a:r>
            </a:p>
          </p:txBody>
        </p:sp>
        <p:sp>
          <p:nvSpPr>
            <p:cNvPr id="10" name="Rectangle 218"/>
            <p:cNvSpPr/>
            <p:nvPr/>
          </p:nvSpPr>
          <p:spPr>
            <a:xfrm>
              <a:off x="4432427" y="2101700"/>
              <a:ext cx="2858400" cy="4250160"/>
            </a:xfrm>
            <a:prstGeom prst="rect">
              <a:avLst/>
            </a:prstGeom>
            <a:noFill/>
            <a:ln w="127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" name="TextBox 83"/>
            <p:cNvSpPr txBox="1">
              <a:spLocks noChangeArrowheads="1"/>
            </p:cNvSpPr>
            <p:nvPr/>
          </p:nvSpPr>
          <p:spPr bwMode="auto">
            <a:xfrm>
              <a:off x="4626999" y="2194707"/>
              <a:ext cx="256032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rIns="0">
              <a:spAutoFit/>
            </a:bodyPr>
            <a:lstStyle/>
            <a:p>
              <a:pPr algn="ctr"/>
              <a:r>
                <a:rPr lang="en-US" sz="1200" b="1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W Competency Development</a:t>
              </a:r>
            </a:p>
          </p:txBody>
        </p:sp>
        <p:sp>
          <p:nvSpPr>
            <p:cNvPr id="12" name="Shape 1385"/>
            <p:cNvSpPr/>
            <p:nvPr/>
          </p:nvSpPr>
          <p:spPr>
            <a:xfrm>
              <a:off x="4657159" y="3798715"/>
              <a:ext cx="2454224" cy="279399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5000"/>
              </a:scheme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1500" cap="all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pPr marL="0" marR="0" lvl="0" indent="0" algn="ctr" defTabSz="584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cap="none">
                  <a:solidFill>
                    <a:srgbClr val="000000"/>
                  </a:solidFill>
                </a:defRPr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Online Practice System (</a:t>
              </a:r>
              <a:r>
                <a:rPr kumimoji="0" lang="en-US" sz="1100" b="0" i="0" u="none" strike="noStrike" kern="0" cap="none" spc="0" normalizeH="0" baseline="0" noProof="0" dirty="0" err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Codegrou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)</a:t>
              </a:r>
            </a:p>
          </p:txBody>
        </p:sp>
        <p:sp>
          <p:nvSpPr>
            <p:cNvPr id="13" name="Shape 1385"/>
            <p:cNvSpPr/>
            <p:nvPr/>
          </p:nvSpPr>
          <p:spPr>
            <a:xfrm>
              <a:off x="4665071" y="5109354"/>
              <a:ext cx="2447876" cy="279399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5000"/>
              </a:scheme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1500" cap="all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pPr marL="0" marR="0" lvl="0" indent="0" algn="ctr" defTabSz="584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cap="none">
                  <a:solidFill>
                    <a:srgbClr val="000000"/>
                  </a:solidFill>
                </a:defRPr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Samsung Contest (shortlist for CG)</a:t>
              </a:r>
            </a:p>
          </p:txBody>
        </p:sp>
        <p:sp>
          <p:nvSpPr>
            <p:cNvPr id="14" name="Shape 1385"/>
            <p:cNvSpPr/>
            <p:nvPr/>
          </p:nvSpPr>
          <p:spPr>
            <a:xfrm>
              <a:off x="1340024" y="3798715"/>
              <a:ext cx="2431196" cy="279399"/>
            </a:xfrm>
            <a:prstGeom prst="roundRect">
              <a:avLst>
                <a:gd name="adj" fmla="val 0"/>
              </a:avLst>
            </a:prstGeom>
            <a:solidFill>
              <a:srgbClr val="DBF5F9">
                <a:lumMod val="50000"/>
              </a:srgb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/>
            <a:p>
              <a:pPr algn="ctr" defTabSz="584200" latinLnBrk="0"/>
              <a:r>
                <a:rPr lang="en-US" sz="1100" kern="0" dirty="0">
                  <a:solidFill>
                    <a:sysClr val="window" lastClr="FFFFFF"/>
                  </a:solidFill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Scholarship</a:t>
              </a:r>
            </a:p>
          </p:txBody>
        </p:sp>
        <p:sp>
          <p:nvSpPr>
            <p:cNvPr id="15" name="Rectangle 223"/>
            <p:cNvSpPr/>
            <p:nvPr/>
          </p:nvSpPr>
          <p:spPr>
            <a:xfrm>
              <a:off x="1143001" y="2126769"/>
              <a:ext cx="2858868" cy="4250160"/>
            </a:xfrm>
            <a:prstGeom prst="rect">
              <a:avLst/>
            </a:prstGeom>
            <a:noFill/>
            <a:ln w="127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" name="TextBox 83"/>
            <p:cNvSpPr txBox="1">
              <a:spLocks noChangeArrowheads="1"/>
            </p:cNvSpPr>
            <p:nvPr/>
          </p:nvSpPr>
          <p:spPr bwMode="auto">
            <a:xfrm>
              <a:off x="1279508" y="2194707"/>
              <a:ext cx="256032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rIns="0">
              <a:spAutoFit/>
            </a:bodyPr>
            <a:lstStyle/>
            <a:p>
              <a:pPr algn="ctr"/>
              <a:r>
                <a:rPr lang="en-US" sz="1200" b="1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University Grant</a:t>
              </a:r>
            </a:p>
          </p:txBody>
        </p:sp>
        <p:sp>
          <p:nvSpPr>
            <p:cNvPr id="17" name="Rectangle 225"/>
            <p:cNvSpPr/>
            <p:nvPr/>
          </p:nvSpPr>
          <p:spPr>
            <a:xfrm>
              <a:off x="7718814" y="2133748"/>
              <a:ext cx="2858400" cy="4244637"/>
            </a:xfrm>
            <a:prstGeom prst="rect">
              <a:avLst/>
            </a:prstGeom>
            <a:noFill/>
            <a:ln w="127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" name="TextBox 83"/>
            <p:cNvSpPr txBox="1">
              <a:spLocks noChangeArrowheads="1"/>
            </p:cNvSpPr>
            <p:nvPr/>
          </p:nvSpPr>
          <p:spPr bwMode="auto">
            <a:xfrm>
              <a:off x="7871216" y="2194707"/>
              <a:ext cx="2560319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rIns="0">
              <a:spAutoFit/>
            </a:bodyPr>
            <a:lstStyle/>
            <a:p>
              <a:pPr algn="ctr"/>
              <a:r>
                <a:rPr lang="en-US" sz="1200" b="1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&amp;D Experience /</a:t>
              </a:r>
              <a:r>
                <a:rPr lang="en-US" altLang="ko-KR" sz="1200" b="1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cruitment Activity</a:t>
              </a:r>
            </a:p>
            <a:p>
              <a:pPr algn="ctr"/>
              <a:endParaRPr lang="en-US" sz="1200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9" name="Shape 1385"/>
            <p:cNvSpPr/>
            <p:nvPr/>
          </p:nvSpPr>
          <p:spPr>
            <a:xfrm>
              <a:off x="7931729" y="2579512"/>
              <a:ext cx="2436692" cy="279399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5000"/>
              </a:scheme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1500" cap="all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pPr marL="0" marR="0" lvl="0" indent="0" algn="ctr" defTabSz="584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cap="none">
                  <a:solidFill>
                    <a:srgbClr val="000000"/>
                  </a:solidFill>
                </a:defRPr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Student Internship</a:t>
              </a:r>
            </a:p>
          </p:txBody>
        </p:sp>
        <p:sp>
          <p:nvSpPr>
            <p:cNvPr id="20" name="Isosceles Triangle 228"/>
            <p:cNvSpPr/>
            <p:nvPr/>
          </p:nvSpPr>
          <p:spPr>
            <a:xfrm rot="5400000">
              <a:off x="7356862" y="3833062"/>
              <a:ext cx="403835" cy="259108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1" name="Rectangle 231"/>
            <p:cNvSpPr/>
            <p:nvPr/>
          </p:nvSpPr>
          <p:spPr>
            <a:xfrm>
              <a:off x="1432565" y="3356869"/>
              <a:ext cx="52931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vice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upport</a:t>
              </a:r>
              <a:endParaRPr lang="en-US" sz="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" name="Isosceles Triangle 232"/>
            <p:cNvSpPr/>
            <p:nvPr/>
          </p:nvSpPr>
          <p:spPr>
            <a:xfrm rot="5400000">
              <a:off x="2074701" y="3155205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23" name="Picture 4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4676" y="2968249"/>
              <a:ext cx="444308" cy="3946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Rectangle 234"/>
            <p:cNvSpPr/>
            <p:nvPr/>
          </p:nvSpPr>
          <p:spPr>
            <a:xfrm>
              <a:off x="2132954" y="3356869"/>
              <a:ext cx="84579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tudent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ntests</a:t>
              </a:r>
            </a:p>
          </p:txBody>
        </p:sp>
        <p:pic>
          <p:nvPicPr>
            <p:cNvPr id="25" name="Picture 6" descr="Kết quả hình ảnh cho scholarship student icon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7750" y="2968134"/>
              <a:ext cx="373495" cy="4573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Isosceles Triangle 236"/>
            <p:cNvSpPr/>
            <p:nvPr/>
          </p:nvSpPr>
          <p:spPr>
            <a:xfrm rot="5400000">
              <a:off x="2900760" y="3152254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" name="Rectangle 237"/>
            <p:cNvSpPr/>
            <p:nvPr/>
          </p:nvSpPr>
          <p:spPr>
            <a:xfrm>
              <a:off x="3057617" y="3356869"/>
              <a:ext cx="753750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tudent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wards</a:t>
              </a:r>
            </a:p>
          </p:txBody>
        </p:sp>
        <p:sp>
          <p:nvSpPr>
            <p:cNvPr id="28" name="Isosceles Triangle 239"/>
            <p:cNvSpPr/>
            <p:nvPr/>
          </p:nvSpPr>
          <p:spPr>
            <a:xfrm rot="5400000">
              <a:off x="1731494" y="4863732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29" name="Picture 6" descr="Kết quả hình ảnh cho scholarship student icon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4807" y="4073034"/>
              <a:ext cx="373495" cy="4979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Rectangle 241"/>
            <p:cNvSpPr/>
            <p:nvPr/>
          </p:nvSpPr>
          <p:spPr>
            <a:xfrm>
              <a:off x="1504676" y="4530567"/>
              <a:ext cx="75375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cholarship</a:t>
              </a:r>
            </a:p>
          </p:txBody>
        </p:sp>
        <p:sp>
          <p:nvSpPr>
            <p:cNvPr id="31" name="Rectangle 242"/>
            <p:cNvSpPr/>
            <p:nvPr/>
          </p:nvSpPr>
          <p:spPr>
            <a:xfrm>
              <a:off x="2675656" y="4530567"/>
              <a:ext cx="75375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 err="1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UniversitIes</a:t>
              </a:r>
              <a:endParaRPr lang="en-US" sz="8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32" name="Picture 12" descr="Kết quả hình ảnh cho university icon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98545" y="4116710"/>
              <a:ext cx="307974" cy="410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Rectangle 244"/>
            <p:cNvSpPr/>
            <p:nvPr/>
          </p:nvSpPr>
          <p:spPr>
            <a:xfrm>
              <a:off x="1268485" y="4789314"/>
              <a:ext cx="540991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7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M Test</a:t>
              </a:r>
            </a:p>
          </p:txBody>
        </p:sp>
        <p:sp>
          <p:nvSpPr>
            <p:cNvPr id="34" name="Isosceles Triangle 245"/>
            <p:cNvSpPr/>
            <p:nvPr/>
          </p:nvSpPr>
          <p:spPr>
            <a:xfrm rot="5400000">
              <a:off x="2417294" y="4863732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5" name="Rectangle 246"/>
            <p:cNvSpPr/>
            <p:nvPr/>
          </p:nvSpPr>
          <p:spPr>
            <a:xfrm>
              <a:off x="1885676" y="4713114"/>
              <a:ext cx="6858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7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VMC</a:t>
              </a:r>
            </a:p>
            <a:p>
              <a:pPr algn="ctr"/>
              <a:r>
                <a:rPr lang="en-US" sz="7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nternship</a:t>
              </a:r>
            </a:p>
          </p:txBody>
        </p:sp>
        <p:sp>
          <p:nvSpPr>
            <p:cNvPr id="36" name="Rectangle 248"/>
            <p:cNvSpPr/>
            <p:nvPr/>
          </p:nvSpPr>
          <p:spPr>
            <a:xfrm>
              <a:off x="2495277" y="4789314"/>
              <a:ext cx="685800" cy="2000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7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dv. Test</a:t>
              </a:r>
            </a:p>
          </p:txBody>
        </p:sp>
        <p:sp>
          <p:nvSpPr>
            <p:cNvPr id="37" name="Rectangle 249"/>
            <p:cNvSpPr/>
            <p:nvPr/>
          </p:nvSpPr>
          <p:spPr>
            <a:xfrm>
              <a:off x="3210316" y="4713114"/>
              <a:ext cx="65656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7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Work at </a:t>
              </a:r>
            </a:p>
            <a:p>
              <a:pPr algn="ctr"/>
              <a:r>
                <a:rPr lang="en-US" sz="7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VMC</a:t>
              </a:r>
            </a:p>
          </p:txBody>
        </p:sp>
        <p:sp>
          <p:nvSpPr>
            <p:cNvPr id="38" name="Isosceles Triangle 250"/>
            <p:cNvSpPr/>
            <p:nvPr/>
          </p:nvSpPr>
          <p:spPr>
            <a:xfrm rot="5400000">
              <a:off x="3033246" y="4867296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9" name="Rectangle 251"/>
            <p:cNvSpPr/>
            <p:nvPr/>
          </p:nvSpPr>
          <p:spPr>
            <a:xfrm>
              <a:off x="4777466" y="3370378"/>
              <a:ext cx="52334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urse funding</a:t>
              </a:r>
            </a:p>
          </p:txBody>
        </p:sp>
        <p:sp>
          <p:nvSpPr>
            <p:cNvPr id="40" name="Rectangle 252"/>
            <p:cNvSpPr/>
            <p:nvPr/>
          </p:nvSpPr>
          <p:spPr>
            <a:xfrm>
              <a:off x="5462930" y="3374347"/>
              <a:ext cx="91473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lgorithm &amp; App course</a:t>
              </a:r>
            </a:p>
          </p:txBody>
        </p:sp>
        <p:sp>
          <p:nvSpPr>
            <p:cNvPr id="41" name="Rectangle 253"/>
            <p:cNvSpPr/>
            <p:nvPr/>
          </p:nvSpPr>
          <p:spPr>
            <a:xfrm>
              <a:off x="6371956" y="3370374"/>
              <a:ext cx="82031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urse Certificate</a:t>
              </a:r>
            </a:p>
          </p:txBody>
        </p:sp>
        <p:pic>
          <p:nvPicPr>
            <p:cNvPr id="42" name="Picture 17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1756" y="2866534"/>
              <a:ext cx="539115" cy="518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3" name="Isosceles Triangle 255"/>
            <p:cNvSpPr/>
            <p:nvPr/>
          </p:nvSpPr>
          <p:spPr>
            <a:xfrm rot="5400000">
              <a:off x="5426191" y="3087470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4" name="Isosceles Triangle 256"/>
            <p:cNvSpPr/>
            <p:nvPr/>
          </p:nvSpPr>
          <p:spPr>
            <a:xfrm rot="5400000">
              <a:off x="6223487" y="3072313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45" name="Picture 21" descr="Kết quả hình ảnh cho student certificate icon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0551" y="2980383"/>
              <a:ext cx="418536" cy="284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Rectangle 258"/>
            <p:cNvSpPr/>
            <p:nvPr/>
          </p:nvSpPr>
          <p:spPr>
            <a:xfrm>
              <a:off x="4659165" y="4698628"/>
              <a:ext cx="60788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Grant 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account</a:t>
              </a:r>
            </a:p>
          </p:txBody>
        </p:sp>
        <p:pic>
          <p:nvPicPr>
            <p:cNvPr id="47" name="Picture 25" descr="Kết quả hình ảnh cho user account icon"/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8056" y="4300093"/>
              <a:ext cx="265010" cy="3533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Isosceles Triangle 260"/>
            <p:cNvSpPr/>
            <p:nvPr/>
          </p:nvSpPr>
          <p:spPr>
            <a:xfrm rot="5400000">
              <a:off x="5219551" y="4502825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49" name="Isosceles Triangle 261"/>
            <p:cNvSpPr/>
            <p:nvPr/>
          </p:nvSpPr>
          <p:spPr>
            <a:xfrm rot="5400000">
              <a:off x="6095852" y="4502825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0" name="Rectangle 262"/>
            <p:cNvSpPr/>
            <p:nvPr/>
          </p:nvSpPr>
          <p:spPr>
            <a:xfrm>
              <a:off x="6364335" y="4698822"/>
              <a:ext cx="61006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nline 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ntest</a:t>
              </a:r>
            </a:p>
          </p:txBody>
        </p:sp>
        <p:pic>
          <p:nvPicPr>
            <p:cNvPr id="51" name="Picture 27" descr="Kết quả hình ảnh cho university course icon"/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8636" y="4312400"/>
              <a:ext cx="414699" cy="368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31" descr="Kết quả hình ảnh cho university course icon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3682" y="2890968"/>
              <a:ext cx="329171" cy="4388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3" name="Picture 31" descr="Kết quả hình ảnh cho university course icon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8180" y="4312401"/>
              <a:ext cx="329171" cy="4388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Rectangle 266"/>
            <p:cNvSpPr/>
            <p:nvPr/>
          </p:nvSpPr>
          <p:spPr>
            <a:xfrm>
              <a:off x="4726031" y="5974760"/>
              <a:ext cx="76213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 Online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ounds</a:t>
              </a:r>
            </a:p>
          </p:txBody>
        </p:sp>
        <p:pic>
          <p:nvPicPr>
            <p:cNvPr id="55" name="Picture 27" descr="Kết quả hình ảnh cho university course icon"/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8100" y="5563693"/>
              <a:ext cx="414699" cy="368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Rectangle 268"/>
            <p:cNvSpPr/>
            <p:nvPr/>
          </p:nvSpPr>
          <p:spPr>
            <a:xfrm>
              <a:off x="5464785" y="5974760"/>
              <a:ext cx="82337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ffline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ound in </a:t>
              </a:r>
              <a:r>
                <a:rPr lang="en-US" sz="800" dirty="0" err="1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VN</a:t>
              </a:r>
              <a:endParaRPr lang="en-US" sz="8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57" name="Picture 27" descr="Kết quả hình ảnh cho university course icon"/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4919" y="5563693"/>
              <a:ext cx="414699" cy="368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Isosceles Triangle 272"/>
            <p:cNvSpPr/>
            <p:nvPr/>
          </p:nvSpPr>
          <p:spPr>
            <a:xfrm rot="5400000">
              <a:off x="5372331" y="5764045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9" name="Isosceles Triangle 273"/>
            <p:cNvSpPr/>
            <p:nvPr/>
          </p:nvSpPr>
          <p:spPr>
            <a:xfrm rot="5400000">
              <a:off x="6207486" y="5764045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0" name="Rectangle 276"/>
            <p:cNvSpPr/>
            <p:nvPr/>
          </p:nvSpPr>
          <p:spPr>
            <a:xfrm>
              <a:off x="8068744" y="4703669"/>
              <a:ext cx="76213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VMC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our</a:t>
              </a:r>
            </a:p>
          </p:txBody>
        </p:sp>
        <p:sp>
          <p:nvSpPr>
            <p:cNvPr id="61" name="Rectangle 277"/>
            <p:cNvSpPr/>
            <p:nvPr/>
          </p:nvSpPr>
          <p:spPr>
            <a:xfrm>
              <a:off x="9194190" y="4674946"/>
              <a:ext cx="76213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Factory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our</a:t>
              </a:r>
            </a:p>
          </p:txBody>
        </p:sp>
        <p:pic>
          <p:nvPicPr>
            <p:cNvPr id="62" name="Picture 34"/>
            <p:cNvPicPr>
              <a:picLocks noChangeAspect="1" noChangeArrowheads="1"/>
            </p:cNvPicPr>
            <p:nvPr/>
          </p:nvPicPr>
          <p:blipFill>
            <a:blip r:embed="rId11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28629" y="2959464"/>
              <a:ext cx="350197" cy="474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3" name="Rectangle 279"/>
            <p:cNvSpPr/>
            <p:nvPr/>
          </p:nvSpPr>
          <p:spPr>
            <a:xfrm>
              <a:off x="7669284" y="3425861"/>
              <a:ext cx="76213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mpany 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ulture</a:t>
              </a:r>
            </a:p>
          </p:txBody>
        </p:sp>
        <p:sp>
          <p:nvSpPr>
            <p:cNvPr id="64" name="Rectangle 280"/>
            <p:cNvSpPr/>
            <p:nvPr/>
          </p:nvSpPr>
          <p:spPr>
            <a:xfrm>
              <a:off x="8458507" y="3370478"/>
              <a:ext cx="7621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W 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mpetency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 training</a:t>
              </a:r>
            </a:p>
          </p:txBody>
        </p:sp>
        <p:pic>
          <p:nvPicPr>
            <p:cNvPr id="65" name="Picture 31" descr="Kết quả hình ảnh cho university course icon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66887" y="2943403"/>
              <a:ext cx="329171" cy="4388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6" name="Isosceles Triangle 282"/>
            <p:cNvSpPr/>
            <p:nvPr/>
          </p:nvSpPr>
          <p:spPr>
            <a:xfrm rot="5400000">
              <a:off x="8986235" y="4496001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7" name="Isosceles Triangle 283"/>
            <p:cNvSpPr/>
            <p:nvPr/>
          </p:nvSpPr>
          <p:spPr>
            <a:xfrm rot="5400000">
              <a:off x="8438489" y="3155205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8" name="Rectangle 292"/>
            <p:cNvSpPr/>
            <p:nvPr/>
          </p:nvSpPr>
          <p:spPr>
            <a:xfrm>
              <a:off x="5335295" y="4715815"/>
              <a:ext cx="91473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nline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actice</a:t>
              </a:r>
            </a:p>
          </p:txBody>
        </p:sp>
        <p:pic>
          <p:nvPicPr>
            <p:cNvPr id="75" name="Picture 27" descr="Kết quả hình ảnh cho university course icon"/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85377" y="2980628"/>
              <a:ext cx="414699" cy="368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6" name="Shape 1385"/>
            <p:cNvSpPr/>
            <p:nvPr/>
          </p:nvSpPr>
          <p:spPr>
            <a:xfrm>
              <a:off x="1342800" y="5139834"/>
              <a:ext cx="2447876" cy="279399"/>
            </a:xfrm>
            <a:prstGeom prst="roundRect">
              <a:avLst>
                <a:gd name="adj" fmla="val 0"/>
              </a:avLst>
            </a:prstGeom>
            <a:solidFill>
              <a:srgbClr val="DBF5F9">
                <a:lumMod val="50000"/>
              </a:srgb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1500" cap="all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pPr marL="0" marR="0" lvl="0" indent="0" algn="ctr" defTabSz="584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cap="none">
                  <a:solidFill>
                    <a:srgbClr val="000000"/>
                  </a:solidFill>
                </a:defRPr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Collaboration Project</a:t>
              </a:r>
            </a:p>
          </p:txBody>
        </p:sp>
        <p:pic>
          <p:nvPicPr>
            <p:cNvPr id="77" name="Picture 31" descr="Kết quả hình ảnh cho university course icon"/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4676" y="5696094"/>
              <a:ext cx="329171" cy="3736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8" name="Picture 4" descr="Kết quả hình ảnh cho proposal icon"/>
            <p:cNvPicPr>
              <a:picLocks noChangeAspect="1" noChangeArrowheads="1"/>
            </p:cNvPicPr>
            <p:nvPr/>
          </p:nvPicPr>
          <p:blipFill>
            <a:blip r:embed="rId1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2876" y="5597034"/>
              <a:ext cx="299454" cy="3399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8" descr="Kết quả hình ảnh cho open space icon"/>
            <p:cNvPicPr>
              <a:picLocks noChangeAspect="1" noChangeArrowheads="1"/>
            </p:cNvPicPr>
            <p:nvPr/>
          </p:nvPicPr>
          <p:blipFill rotWithShape="1">
            <a:blip r:embed="rId1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433" b="27580"/>
            <a:stretch/>
          </p:blipFill>
          <p:spPr bwMode="auto">
            <a:xfrm>
              <a:off x="3028676" y="5597034"/>
              <a:ext cx="573467" cy="273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0" name="Isosceles Triangle 94"/>
            <p:cNvSpPr/>
            <p:nvPr/>
          </p:nvSpPr>
          <p:spPr>
            <a:xfrm rot="5400000">
              <a:off x="1960094" y="5751216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1" name="Isosceles Triangle 95"/>
            <p:cNvSpPr/>
            <p:nvPr/>
          </p:nvSpPr>
          <p:spPr>
            <a:xfrm rot="5400000">
              <a:off x="2786153" y="5748265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2" name="Rectangle 96"/>
            <p:cNvSpPr/>
            <p:nvPr/>
          </p:nvSpPr>
          <p:spPr>
            <a:xfrm>
              <a:off x="1352276" y="6005541"/>
              <a:ext cx="64793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search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equest</a:t>
              </a:r>
              <a:endParaRPr lang="en-US" sz="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3" name="Rectangle 97"/>
            <p:cNvSpPr/>
            <p:nvPr/>
          </p:nvSpPr>
          <p:spPr>
            <a:xfrm>
              <a:off x="2038076" y="6020480"/>
              <a:ext cx="84579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ject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posal</a:t>
              </a:r>
            </a:p>
          </p:txBody>
        </p:sp>
        <p:sp>
          <p:nvSpPr>
            <p:cNvPr id="84" name="Rectangle 98"/>
            <p:cNvSpPr/>
            <p:nvPr/>
          </p:nvSpPr>
          <p:spPr>
            <a:xfrm>
              <a:off x="2952476" y="6020480"/>
              <a:ext cx="753750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-work</a:t>
              </a:r>
            </a:p>
          </p:txBody>
        </p:sp>
        <p:pic>
          <p:nvPicPr>
            <p:cNvPr id="85" name="Picture 2" descr="Kết quả hình ảnh cho R&amp;D icon"/>
            <p:cNvPicPr>
              <a:picLocks noChangeAspect="1" noChangeArrowheads="1"/>
            </p:cNvPicPr>
            <p:nvPr/>
          </p:nvPicPr>
          <p:blipFill>
            <a:blip r:embed="rId14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8203728" y="4207651"/>
              <a:ext cx="533400" cy="502146"/>
            </a:xfrm>
            <a:prstGeom prst="rect">
              <a:avLst/>
            </a:prstGeom>
            <a:noFill/>
          </p:spPr>
        </p:pic>
        <p:pic>
          <p:nvPicPr>
            <p:cNvPr id="86" name="Picture 4" descr="Kết quả hình ảnh cho manufacture icon"/>
            <p:cNvPicPr>
              <a:picLocks noChangeAspect="1" noChangeArrowheads="1"/>
            </p:cNvPicPr>
            <p:nvPr/>
          </p:nvPicPr>
          <p:blipFill>
            <a:blip r:embed="rId15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9346728" y="4207651"/>
              <a:ext cx="533400" cy="471170"/>
            </a:xfrm>
            <a:prstGeom prst="rect">
              <a:avLst/>
            </a:prstGeom>
            <a:noFill/>
          </p:spPr>
        </p:pic>
        <p:sp>
          <p:nvSpPr>
            <p:cNvPr id="87" name="Isosceles Triangle 101"/>
            <p:cNvSpPr/>
            <p:nvPr/>
          </p:nvSpPr>
          <p:spPr>
            <a:xfrm rot="5400000">
              <a:off x="9035362" y="3175778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8" name="Rectangle 102"/>
            <p:cNvSpPr/>
            <p:nvPr/>
          </p:nvSpPr>
          <p:spPr>
            <a:xfrm>
              <a:off x="9097606" y="3385863"/>
              <a:ext cx="76213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Mini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roject</a:t>
              </a:r>
            </a:p>
          </p:txBody>
        </p:sp>
        <p:pic>
          <p:nvPicPr>
            <p:cNvPr id="89" name="Picture 27" descr="Kết quả hình ảnh cho university course icon"/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71326" y="3001753"/>
              <a:ext cx="414699" cy="368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0" name="Rectangle 104"/>
            <p:cNvSpPr/>
            <p:nvPr/>
          </p:nvSpPr>
          <p:spPr>
            <a:xfrm>
              <a:off x="9634085" y="3406079"/>
              <a:ext cx="820319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nternship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ertificate</a:t>
              </a:r>
            </a:p>
          </p:txBody>
        </p:sp>
        <p:sp>
          <p:nvSpPr>
            <p:cNvPr id="91" name="Isosceles Triangle 105"/>
            <p:cNvSpPr/>
            <p:nvPr/>
          </p:nvSpPr>
          <p:spPr>
            <a:xfrm rot="5400000">
              <a:off x="9674804" y="3182115"/>
              <a:ext cx="232164" cy="76200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92" name="Picture 21" descr="Kết quả hình ảnh cho student certificate icon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rgbClr val="0BD0D9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0217" y="3091124"/>
              <a:ext cx="418536" cy="284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3" name="Picture 99" descr="Open day.png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497085" y="5520834"/>
              <a:ext cx="381000" cy="304800"/>
            </a:xfrm>
            <a:prstGeom prst="rect">
              <a:avLst/>
            </a:prstGeom>
          </p:spPr>
        </p:pic>
        <p:sp>
          <p:nvSpPr>
            <p:cNvPr id="94" name="Rectangle 108"/>
            <p:cNvSpPr/>
            <p:nvPr/>
          </p:nvSpPr>
          <p:spPr>
            <a:xfrm>
              <a:off x="6211960" y="5974760"/>
              <a:ext cx="823375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ffline</a:t>
              </a:r>
            </a:p>
            <a:p>
              <a:pPr algn="ctr"/>
              <a:r>
                <a:rPr lang="en-US" sz="8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Round in HQ</a:t>
              </a:r>
            </a:p>
          </p:txBody>
        </p:sp>
        <p:pic>
          <p:nvPicPr>
            <p:cNvPr id="95" name="Picture 27" descr="Kết quả hình ảnh cho university course icon"/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2094" y="5551314"/>
              <a:ext cx="414699" cy="3686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9" name="Shape 1385"/>
            <p:cNvSpPr/>
            <p:nvPr/>
          </p:nvSpPr>
          <p:spPr>
            <a:xfrm>
              <a:off x="7916936" y="5163860"/>
              <a:ext cx="2436692" cy="279399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5000"/>
              </a:schemeClr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1500" cap="all">
                  <a:solidFill>
                    <a:srgbClr val="FFFFFF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pPr algn="ctr" latinLnBrk="0">
                <a:defRPr sz="1800" cap="none">
                  <a:solidFill>
                    <a:srgbClr val="000000"/>
                  </a:solidFill>
                </a:defRPr>
              </a:pPr>
              <a:r>
                <a:rPr kumimoji="0" lang="en-US" sz="1100" b="0" i="0" u="none" strike="noStrike" kern="0" cap="none" spc="0" normalizeH="0" baseline="0" noProof="0" dirty="0" err="1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Uni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  <a:sym typeface="Helvetica Neue"/>
                </a:rPr>
                <a:t> Tour / </a:t>
              </a:r>
              <a:r>
                <a:rPr lang="en-US" altLang="ko-KR" sz="1100" kern="0" cap="none" dirty="0">
                  <a:solidFill>
                    <a:sysClr val="window" lastClr="FFFFFF"/>
                  </a:solidFill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Greeting Day (for fresh)</a:t>
              </a:r>
            </a:p>
          </p:txBody>
        </p:sp>
        <p:pic>
          <p:nvPicPr>
            <p:cNvPr id="92166" name="Picture 6" descr="Related image">
              <a:hlinkClick r:id="rId17"/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duotone>
                <a:prstClr val="black"/>
                <a:srgbClr val="C8FCFC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5815" y="5504949"/>
              <a:ext cx="1918933" cy="7232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4" name="Isosceles Triangle 228"/>
            <p:cNvSpPr/>
            <p:nvPr/>
          </p:nvSpPr>
          <p:spPr>
            <a:xfrm rot="5400000">
              <a:off x="4011435" y="3861554"/>
              <a:ext cx="403835" cy="259108"/>
            </a:xfrm>
            <a:prstGeom prst="triangle">
              <a:avLst/>
            </a:prstGeom>
            <a:solidFill>
              <a:srgbClr val="009DD9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122" name="직사각형 121"/>
          <p:cNvSpPr/>
          <p:nvPr/>
        </p:nvSpPr>
        <p:spPr>
          <a:xfrm>
            <a:off x="1163052" y="1734217"/>
            <a:ext cx="1026755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defTabSz="1828434" latinLnBrk="0">
              <a:spcBef>
                <a:spcPts val="1800"/>
              </a:spcBef>
              <a:spcAft>
                <a:spcPts val="1200"/>
              </a:spcAft>
              <a:buFont typeface="Wingdings" pitchFamily="2" charset="2"/>
              <a:buChar char="v"/>
            </a:pP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Tạo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cơ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hội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trải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nghiệm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môi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trường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R&amp;D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thông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qua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chương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trình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thực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 </a:t>
            </a:r>
            <a:r>
              <a:rPr lang="en-US" altLang="ko-KR" sz="1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tập</a:t>
            </a:r>
            <a:r>
              <a:rPr lang="en-US" altLang="ko-KR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Malgun Gothic" panose="020B0503020000020004" pitchFamily="34" charset="-127"/>
                <a:cs typeface="Lato Light"/>
              </a:rPr>
              <a:t>, Open Day…</a:t>
            </a:r>
            <a:endParaRPr lang="ko-KR" alt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Verdana" panose="020B0604030504040204" pitchFamily="34" charset="0"/>
              <a:ea typeface="Malgun Gothic" panose="020B0503020000020004" pitchFamily="34" charset="-127"/>
              <a:cs typeface="Lato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B5D863E-4B2C-464E-A52D-FBD83DFD1E62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231"/>
          <a:stretch/>
        </p:blipFill>
        <p:spPr>
          <a:xfrm>
            <a:off x="454069" y="186165"/>
            <a:ext cx="978496" cy="967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021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SG Template Color Palette">
      <a:dk1>
        <a:srgbClr val="000000"/>
      </a:dk1>
      <a:lt1>
        <a:srgbClr val="FFFFFF"/>
      </a:lt1>
      <a:dk2>
        <a:srgbClr val="D8D8D8"/>
      </a:dk2>
      <a:lt2>
        <a:srgbClr val="FFFFFF"/>
      </a:lt2>
      <a:accent1>
        <a:srgbClr val="4F81BD"/>
      </a:accent1>
      <a:accent2>
        <a:srgbClr val="75A3D1"/>
      </a:accent2>
      <a:accent3>
        <a:srgbClr val="C7DAEC"/>
      </a:accent3>
      <a:accent4>
        <a:srgbClr val="DADADA"/>
      </a:accent4>
      <a:accent5>
        <a:srgbClr val="366092"/>
      </a:accent5>
      <a:accent6>
        <a:srgbClr val="FFC000"/>
      </a:accent6>
      <a:hlink>
        <a:srgbClr val="004CE2"/>
      </a:hlink>
      <a:folHlink>
        <a:srgbClr val="C2C2C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3175">
          <a:solidFill>
            <a:schemeClr val="tx1"/>
          </a:solidFill>
        </a:ln>
      </a:spPr>
      <a:bodyPr wrap="square">
        <a:spAutoFit/>
      </a:bodyPr>
      <a:lstStyle>
        <a:defPPr>
          <a:lnSpc>
            <a:spcPct val="150000"/>
          </a:lnSpc>
          <a:spcAft>
            <a:spcPts val="1200"/>
          </a:spcAft>
          <a:defRPr b="1" dirty="0" smtClean="0">
            <a:solidFill>
              <a:schemeClr val="accent1"/>
            </a:solidFill>
            <a:latin typeface="맑은 고딕" panose="020B0503020000020004" pitchFamily="50" charset="-127"/>
            <a:ea typeface="맑은 고딕" panose="020B0503020000020004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1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1"/>
          </a:buClr>
          <a:buSzTx/>
          <a:buFont typeface="Wingdings" pitchFamily="2" charset="2"/>
          <a:buNone/>
          <a:tabLst/>
          <a:defRPr kumimoji="1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굴림" pitchFamily="50" charset="-127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vert="horz" wrap="non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ct val="0"/>
          </a:spcAft>
          <a:buClr>
            <a:schemeClr val="accent1"/>
          </a:buClr>
          <a:buSzTx/>
          <a:buFont typeface="Wingdings" pitchFamily="2" charset="2"/>
          <a:buNone/>
          <a:tabLst/>
          <a:defRPr kumimoji="0" sz="160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j-lt"/>
            <a:ea typeface="+mn-ea"/>
            <a:cs typeface="+mn-cs"/>
          </a:defRPr>
        </a:defPPr>
      </a:lstStyle>
    </a:txDef>
  </a:objectDefaults>
  <a:extraClrSchemeLst>
    <a:extraClrScheme>
      <a:clrScheme name="Samsung GSG template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amsung GSG template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msung GSG template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msung GSG template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msung GSG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msung GSG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msung GSG 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msung GSG template 8">
        <a:dk1>
          <a:srgbClr val="000000"/>
        </a:dk1>
        <a:lt1>
          <a:srgbClr val="FFFFFF"/>
        </a:lt1>
        <a:dk2>
          <a:srgbClr val="199B9B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FF6B07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msung GSG template 9">
        <a:dk1>
          <a:srgbClr val="000000"/>
        </a:dk1>
        <a:lt1>
          <a:srgbClr val="FFFFFF"/>
        </a:lt1>
        <a:dk2>
          <a:srgbClr val="33CCCC"/>
        </a:dk2>
        <a:lt2>
          <a:srgbClr val="666666"/>
        </a:lt2>
        <a:accent1>
          <a:srgbClr val="6699CC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B8CAE2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msung GSG template 10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FF99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amsung GSG template 11">
        <a:dk1>
          <a:srgbClr val="000000"/>
        </a:dk1>
        <a:lt1>
          <a:srgbClr val="FFFFFF"/>
        </a:lt1>
        <a:dk2>
          <a:srgbClr val="33CCCC"/>
        </a:dk2>
        <a:lt2>
          <a:srgbClr val="6699CC"/>
        </a:lt2>
        <a:accent1>
          <a:srgbClr val="006699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8AB9E7"/>
        </a:accent6>
        <a:hlink>
          <a:srgbClr val="199B9B"/>
        </a:hlink>
        <a:folHlink>
          <a:srgbClr val="703BE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테마">
  <a:themeElements>
    <a:clrScheme name="Office 테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테마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테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014</TotalTime>
  <Words>1359</Words>
  <Application>Microsoft Office PowerPoint</Application>
  <PresentationFormat>Custom</PresentationFormat>
  <Paragraphs>307</Paragraphs>
  <Slides>1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blank</vt:lpstr>
      <vt:lpstr>2_Office 테마</vt:lpstr>
      <vt:lpstr>3_Office 테마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하양이/기술전략그룹(무선)/Professional/삼성전자</dc:creator>
  <cp:lastModifiedBy>Nguyen Anh Tuan</cp:lastModifiedBy>
  <cp:revision>1404</cp:revision>
  <cp:lastPrinted>2017-05-26T01:29:00Z</cp:lastPrinted>
  <dcterms:created xsi:type="dcterms:W3CDTF">2017-05-23T02:49:09Z</dcterms:created>
  <dcterms:modified xsi:type="dcterms:W3CDTF">2019-03-27T07:4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5C58129F-E5B8-477A-9B38-B3E54BFA04C8}" pid="2">
    <vt:lpwstr>8EF8C7213A4CF26164FE29CBED7EC17DB0DC4ADA4C9DB9FFDD73A49A7BE4038B</vt:lpwstr>
  </property>
  <property fmtid="{D5CDD505-2E9C-101B-9397-08002B2CF9AE}" pid="2" name="NSCPROP">
    <vt:lpwstr>NSCCustomProperty</vt:lpwstr>
  </property>
  <property fmtid="{D5CDD505-2E9C-101B-9397-08002B2CF9AE}" pid="3" name="NSCPROP_SA">
    <vt:lpwstr>D:\VIP Docs\Vision2020(기술전략팀)-170527.pptx</vt:lpwstr>
  </property>
</Properties>
</file>